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diagrams/data1.xml" ContentType="application/vnd.openxmlformats-officedocument.drawingml.diagramData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docProps/core.xml" ContentType="application/vnd.openxmlformats-package.core-propertie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0.xml" ContentType="application/vnd.openxmlformats-officedocument.presentationml.tags+xml"/>
  <Override PartName="/ppt/tags/tag69.xml" ContentType="application/vnd.openxmlformats-officedocument.presentationml.tags+xml"/>
  <Override PartName="/ppt/tags/tag5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docProps/app.xml" ContentType="application/vnd.openxmlformats-officedocument.extended-propertie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37.xml" ContentType="application/vnd.openxmlformats-officedocument.presentationml.tags+xml"/>
  <Override PartName="/ppt/tags/tag75.xml" ContentType="application/vnd.openxmlformats-officedocument.presentationml.tags+xml"/>
  <Override PartName="/ppt/tags/tag64.xml" ContentType="application/vnd.openxmlformats-officedocument.presentationml.tags+xml"/>
  <Override PartName="/ppt/tags/tag76.xml" ContentType="application/vnd.openxmlformats-officedocument.presentationml.tags+xml"/>
  <Override PartName="/ppt/tags/tag65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58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57.xml" ContentType="application/vnd.openxmlformats-officedocument.presentationml.tags+xml"/>
  <Override PartName="/ppt/tags/tag63.xml" ContentType="application/vnd.openxmlformats-officedocument.presentationml.tags+xml"/>
  <Override PartName="/ppt/tags/tag66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28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2147376281" r:id="rId2"/>
    <p:sldId id="2147376282" r:id="rId3"/>
    <p:sldId id="2147376280" r:id="rId4"/>
    <p:sldId id="2147376283" r:id="rId5"/>
    <p:sldId id="264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77306" autoAdjust="0"/>
  </p:normalViewPr>
  <p:slideViewPr>
    <p:cSldViewPr snapToGrid="0">
      <p:cViewPr varScale="1">
        <p:scale>
          <a:sx n="71" d="100"/>
          <a:sy n="71" d="100"/>
        </p:scale>
        <p:origin x="1157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openxmlformats.org/officeDocument/2006/relationships/customXml" Target="../customXml/item2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customXml" Target="../customXml/item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Relationship Id="rId14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2446470-E32E-4AF7-89A7-BB4AAC932E62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6BB3BFBC-B7B1-4C98-9065-1BD1443FEB17}">
      <dgm:prSet phldrT="[Text]" custT="1"/>
      <dgm:spPr/>
      <dgm:t>
        <a:bodyPr/>
        <a:lstStyle/>
        <a:p>
          <a:r>
            <a:rPr lang="de-DE" sz="1800" dirty="0"/>
            <a:t>IT Expertise: </a:t>
          </a:r>
        </a:p>
        <a:p>
          <a:r>
            <a:rPr lang="de-DE" sz="1800" dirty="0"/>
            <a:t>Big Data and AI</a:t>
          </a:r>
        </a:p>
      </dgm:t>
    </dgm:pt>
    <dgm:pt modelId="{83FE5682-1597-41AC-A9D5-8DE29EDC634B}" type="parTrans" cxnId="{9402DA2D-C6F6-44CE-AF19-64116945BE02}">
      <dgm:prSet/>
      <dgm:spPr/>
      <dgm:t>
        <a:bodyPr/>
        <a:lstStyle/>
        <a:p>
          <a:endParaRPr lang="de-DE" sz="1600"/>
        </a:p>
      </dgm:t>
    </dgm:pt>
    <dgm:pt modelId="{39D35E14-C294-49C3-A946-2C0EB63C1453}" type="sibTrans" cxnId="{9402DA2D-C6F6-44CE-AF19-64116945BE02}">
      <dgm:prSet/>
      <dgm:spPr/>
      <dgm:t>
        <a:bodyPr/>
        <a:lstStyle/>
        <a:p>
          <a:endParaRPr lang="de-DE" sz="1600"/>
        </a:p>
      </dgm:t>
    </dgm:pt>
    <dgm:pt modelId="{EE567471-FEE6-4520-9590-79F75D17178D}">
      <dgm:prSet phldrT="[Text]" custT="1"/>
      <dgm:spPr/>
      <dgm:t>
        <a:bodyPr/>
        <a:lstStyle/>
        <a:p>
          <a:r>
            <a:rPr lang="de-DE" sz="1800" dirty="0"/>
            <a:t>Scientific Excellence: Models and EO </a:t>
          </a:r>
        </a:p>
      </dgm:t>
    </dgm:pt>
    <dgm:pt modelId="{464CCC38-6339-46E0-AB76-B308D0BF9FC2}" type="sibTrans" cxnId="{5815F465-B1DF-4428-A625-D173BA0B2FB0}">
      <dgm:prSet/>
      <dgm:spPr/>
      <dgm:t>
        <a:bodyPr/>
        <a:lstStyle/>
        <a:p>
          <a:endParaRPr lang="de-DE" sz="1600"/>
        </a:p>
      </dgm:t>
    </dgm:pt>
    <dgm:pt modelId="{DF826E0C-31A3-4A09-AF58-9C5484CBD2E1}" type="parTrans" cxnId="{5815F465-B1DF-4428-A625-D173BA0B2FB0}">
      <dgm:prSet/>
      <dgm:spPr/>
      <dgm:t>
        <a:bodyPr/>
        <a:lstStyle/>
        <a:p>
          <a:endParaRPr lang="de-DE" sz="1600"/>
        </a:p>
      </dgm:t>
    </dgm:pt>
    <dgm:pt modelId="{EC7971C4-758A-491E-B55D-F4EE709CB9C8}">
      <dgm:prSet phldrT="[Text]" custT="1"/>
      <dgm:spPr/>
      <dgm:t>
        <a:bodyPr/>
        <a:lstStyle/>
        <a:p>
          <a:r>
            <a:rPr lang="de-DE" sz="1800" dirty="0" err="1"/>
            <a:t>Proven</a:t>
          </a:r>
          <a:r>
            <a:rPr lang="de-DE" sz="1800" dirty="0"/>
            <a:t> Operational Services</a:t>
          </a:r>
        </a:p>
      </dgm:t>
    </dgm:pt>
    <dgm:pt modelId="{EFF74E4A-75FF-4A6F-AE70-6C669983BA47}" type="parTrans" cxnId="{0DC86BD2-EB62-4B3E-A9BE-72F92580E321}">
      <dgm:prSet/>
      <dgm:spPr/>
      <dgm:t>
        <a:bodyPr/>
        <a:lstStyle/>
        <a:p>
          <a:endParaRPr lang="de-DE" sz="1600"/>
        </a:p>
      </dgm:t>
    </dgm:pt>
    <dgm:pt modelId="{A2E54C25-489E-4AA3-82AA-6739622D0856}" type="sibTrans" cxnId="{0DC86BD2-EB62-4B3E-A9BE-72F92580E321}">
      <dgm:prSet/>
      <dgm:spPr/>
      <dgm:t>
        <a:bodyPr/>
        <a:lstStyle/>
        <a:p>
          <a:endParaRPr lang="de-DE" sz="1600"/>
        </a:p>
      </dgm:t>
    </dgm:pt>
    <dgm:pt modelId="{D9D09D10-F332-468D-AFC2-8689F6BBB0C7}">
      <dgm:prSet phldrT="[Text]" custT="1"/>
      <dgm:spPr/>
      <dgm:t>
        <a:bodyPr/>
        <a:lstStyle/>
        <a:p>
          <a:r>
            <a:rPr lang="de-DE" sz="1800" dirty="0"/>
            <a:t>Digital Twins</a:t>
          </a:r>
        </a:p>
      </dgm:t>
    </dgm:pt>
    <dgm:pt modelId="{4282BF2C-880F-4029-B744-456CDD8F1B47}" type="sibTrans" cxnId="{0193C5E3-B192-453E-8EC2-CF4A2E2ED967}">
      <dgm:prSet/>
      <dgm:spPr/>
      <dgm:t>
        <a:bodyPr/>
        <a:lstStyle/>
        <a:p>
          <a:endParaRPr lang="de-DE" sz="1600"/>
        </a:p>
      </dgm:t>
    </dgm:pt>
    <dgm:pt modelId="{3575BE82-FD37-452D-8712-9E25AFB279E7}" type="parTrans" cxnId="{0193C5E3-B192-453E-8EC2-CF4A2E2ED967}">
      <dgm:prSet/>
      <dgm:spPr/>
      <dgm:t>
        <a:bodyPr/>
        <a:lstStyle/>
        <a:p>
          <a:endParaRPr lang="de-DE" sz="1600"/>
        </a:p>
      </dgm:t>
    </dgm:pt>
    <dgm:pt modelId="{326D51A0-2B0B-432B-8621-C82F5E6B6761}" type="pres">
      <dgm:prSet presAssocID="{52446470-E32E-4AF7-89A7-BB4AAC932E62}" presName="Name0" presStyleCnt="0">
        <dgm:presLayoutVars>
          <dgm:dir/>
          <dgm:animLvl val="lvl"/>
          <dgm:resizeHandles val="exact"/>
        </dgm:presLayoutVars>
      </dgm:prSet>
      <dgm:spPr/>
    </dgm:pt>
    <dgm:pt modelId="{0B283A47-1B1A-47F0-AFE2-4797AF602526}" type="pres">
      <dgm:prSet presAssocID="{EE567471-FEE6-4520-9590-79F75D17178D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E1C640D3-C108-4940-B1B0-2849A72BC530}" type="pres">
      <dgm:prSet presAssocID="{464CCC38-6339-46E0-AB76-B308D0BF9FC2}" presName="parTxOnlySpace" presStyleCnt="0"/>
      <dgm:spPr/>
    </dgm:pt>
    <dgm:pt modelId="{DCBD45D4-77C0-4EA6-986C-D179EAC6A9E1}" type="pres">
      <dgm:prSet presAssocID="{6BB3BFBC-B7B1-4C98-9065-1BD1443FEB17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8192381B-2264-4120-BA4C-E41396D76C3E}" type="pres">
      <dgm:prSet presAssocID="{39D35E14-C294-49C3-A946-2C0EB63C1453}" presName="parTxOnlySpace" presStyleCnt="0"/>
      <dgm:spPr/>
    </dgm:pt>
    <dgm:pt modelId="{70C87416-A187-4140-859F-E5360D54F327}" type="pres">
      <dgm:prSet presAssocID="{D9D09D10-F332-468D-AFC2-8689F6BBB0C7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519F547B-EB6D-48E5-950E-98D73F7A546F}" type="pres">
      <dgm:prSet presAssocID="{4282BF2C-880F-4029-B744-456CDD8F1B47}" presName="parTxOnlySpace" presStyleCnt="0"/>
      <dgm:spPr/>
    </dgm:pt>
    <dgm:pt modelId="{9B9AEDFC-941D-4EB9-9FDC-24771B0AE706}" type="pres">
      <dgm:prSet presAssocID="{EC7971C4-758A-491E-B55D-F4EE709CB9C8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84F21A03-9F55-432E-B504-211235850081}" type="presOf" srcId="{D9D09D10-F332-468D-AFC2-8689F6BBB0C7}" destId="{70C87416-A187-4140-859F-E5360D54F327}" srcOrd="0" destOrd="0" presId="urn:microsoft.com/office/officeart/2005/8/layout/chevron1"/>
    <dgm:cxn modelId="{9402DA2D-C6F6-44CE-AF19-64116945BE02}" srcId="{52446470-E32E-4AF7-89A7-BB4AAC932E62}" destId="{6BB3BFBC-B7B1-4C98-9065-1BD1443FEB17}" srcOrd="1" destOrd="0" parTransId="{83FE5682-1597-41AC-A9D5-8DE29EDC634B}" sibTransId="{39D35E14-C294-49C3-A946-2C0EB63C1453}"/>
    <dgm:cxn modelId="{1EA70562-89C6-4CAD-A04F-01C517F31B0E}" type="presOf" srcId="{EC7971C4-758A-491E-B55D-F4EE709CB9C8}" destId="{9B9AEDFC-941D-4EB9-9FDC-24771B0AE706}" srcOrd="0" destOrd="0" presId="urn:microsoft.com/office/officeart/2005/8/layout/chevron1"/>
    <dgm:cxn modelId="{5815F465-B1DF-4428-A625-D173BA0B2FB0}" srcId="{52446470-E32E-4AF7-89A7-BB4AAC932E62}" destId="{EE567471-FEE6-4520-9590-79F75D17178D}" srcOrd="0" destOrd="0" parTransId="{DF826E0C-31A3-4A09-AF58-9C5484CBD2E1}" sibTransId="{464CCC38-6339-46E0-AB76-B308D0BF9FC2}"/>
    <dgm:cxn modelId="{A1CDC64F-6F97-4291-8B5C-9FA48BCE70F1}" type="presOf" srcId="{52446470-E32E-4AF7-89A7-BB4AAC932E62}" destId="{326D51A0-2B0B-432B-8621-C82F5E6B6761}" srcOrd="0" destOrd="0" presId="urn:microsoft.com/office/officeart/2005/8/layout/chevron1"/>
    <dgm:cxn modelId="{DEE57079-FFB8-493E-BBB7-901C881BA909}" type="presOf" srcId="{6BB3BFBC-B7B1-4C98-9065-1BD1443FEB17}" destId="{DCBD45D4-77C0-4EA6-986C-D179EAC6A9E1}" srcOrd="0" destOrd="0" presId="urn:microsoft.com/office/officeart/2005/8/layout/chevron1"/>
    <dgm:cxn modelId="{24CC935A-7AF0-4B3F-9AFB-06EEFD7AB5CE}" type="presOf" srcId="{EE567471-FEE6-4520-9590-79F75D17178D}" destId="{0B283A47-1B1A-47F0-AFE2-4797AF602526}" srcOrd="0" destOrd="0" presId="urn:microsoft.com/office/officeart/2005/8/layout/chevron1"/>
    <dgm:cxn modelId="{0DC86BD2-EB62-4B3E-A9BE-72F92580E321}" srcId="{52446470-E32E-4AF7-89A7-BB4AAC932E62}" destId="{EC7971C4-758A-491E-B55D-F4EE709CB9C8}" srcOrd="3" destOrd="0" parTransId="{EFF74E4A-75FF-4A6F-AE70-6C669983BA47}" sibTransId="{A2E54C25-489E-4AA3-82AA-6739622D0856}"/>
    <dgm:cxn modelId="{0193C5E3-B192-453E-8EC2-CF4A2E2ED967}" srcId="{52446470-E32E-4AF7-89A7-BB4AAC932E62}" destId="{D9D09D10-F332-468D-AFC2-8689F6BBB0C7}" srcOrd="2" destOrd="0" parTransId="{3575BE82-FD37-452D-8712-9E25AFB279E7}" sibTransId="{4282BF2C-880F-4029-B744-456CDD8F1B47}"/>
    <dgm:cxn modelId="{12AB6B41-494C-4F3A-B47C-17EC6A28C09C}" type="presParOf" srcId="{326D51A0-2B0B-432B-8621-C82F5E6B6761}" destId="{0B283A47-1B1A-47F0-AFE2-4797AF602526}" srcOrd="0" destOrd="0" presId="urn:microsoft.com/office/officeart/2005/8/layout/chevron1"/>
    <dgm:cxn modelId="{76D0B365-8032-4F47-8AC5-CA10597C9488}" type="presParOf" srcId="{326D51A0-2B0B-432B-8621-C82F5E6B6761}" destId="{E1C640D3-C108-4940-B1B0-2849A72BC530}" srcOrd="1" destOrd="0" presId="urn:microsoft.com/office/officeart/2005/8/layout/chevron1"/>
    <dgm:cxn modelId="{A4C4D409-758B-40AC-A1E6-E24D3E08779E}" type="presParOf" srcId="{326D51A0-2B0B-432B-8621-C82F5E6B6761}" destId="{DCBD45D4-77C0-4EA6-986C-D179EAC6A9E1}" srcOrd="2" destOrd="0" presId="urn:microsoft.com/office/officeart/2005/8/layout/chevron1"/>
    <dgm:cxn modelId="{5A24069A-568F-49C9-838F-5B65912C0C3B}" type="presParOf" srcId="{326D51A0-2B0B-432B-8621-C82F5E6B6761}" destId="{8192381B-2264-4120-BA4C-E41396D76C3E}" srcOrd="3" destOrd="0" presId="urn:microsoft.com/office/officeart/2005/8/layout/chevron1"/>
    <dgm:cxn modelId="{A8E0A792-6670-417C-B0E9-EC6A3BFBA948}" type="presParOf" srcId="{326D51A0-2B0B-432B-8621-C82F5E6B6761}" destId="{70C87416-A187-4140-859F-E5360D54F327}" srcOrd="4" destOrd="0" presId="urn:microsoft.com/office/officeart/2005/8/layout/chevron1"/>
    <dgm:cxn modelId="{BF3AF27F-2A33-4AA2-9942-F9289CBBC2F8}" type="presParOf" srcId="{326D51A0-2B0B-432B-8621-C82F5E6B6761}" destId="{519F547B-EB6D-48E5-950E-98D73F7A546F}" srcOrd="5" destOrd="0" presId="urn:microsoft.com/office/officeart/2005/8/layout/chevron1"/>
    <dgm:cxn modelId="{496194AA-FF19-471B-B169-B5A13B234F4B}" type="presParOf" srcId="{326D51A0-2B0B-432B-8621-C82F5E6B6761}" destId="{9B9AEDFC-941D-4EB9-9FDC-24771B0AE706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283A47-1B1A-47F0-AFE2-4797AF602526}">
      <dsp:nvSpPr>
        <dsp:cNvPr id="0" name=""/>
        <dsp:cNvSpPr/>
      </dsp:nvSpPr>
      <dsp:spPr>
        <a:xfrm>
          <a:off x="5655" y="0"/>
          <a:ext cx="3292078" cy="6733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Scientific Excellence: Models and EO </a:t>
          </a:r>
        </a:p>
      </dsp:txBody>
      <dsp:txXfrm>
        <a:off x="342305" y="0"/>
        <a:ext cx="2618778" cy="673300"/>
      </dsp:txXfrm>
    </dsp:sp>
    <dsp:sp modelId="{DCBD45D4-77C0-4EA6-986C-D179EAC6A9E1}">
      <dsp:nvSpPr>
        <dsp:cNvPr id="0" name=""/>
        <dsp:cNvSpPr/>
      </dsp:nvSpPr>
      <dsp:spPr>
        <a:xfrm>
          <a:off x="2968525" y="0"/>
          <a:ext cx="3292078" cy="6733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IT Expertise: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Big Data and AI</a:t>
          </a:r>
        </a:p>
      </dsp:txBody>
      <dsp:txXfrm>
        <a:off x="3305175" y="0"/>
        <a:ext cx="2618778" cy="673300"/>
      </dsp:txXfrm>
    </dsp:sp>
    <dsp:sp modelId="{70C87416-A187-4140-859F-E5360D54F327}">
      <dsp:nvSpPr>
        <dsp:cNvPr id="0" name=""/>
        <dsp:cNvSpPr/>
      </dsp:nvSpPr>
      <dsp:spPr>
        <a:xfrm>
          <a:off x="5931396" y="0"/>
          <a:ext cx="3292078" cy="6733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/>
            <a:t>Digital Twins</a:t>
          </a:r>
        </a:p>
      </dsp:txBody>
      <dsp:txXfrm>
        <a:off x="6268046" y="0"/>
        <a:ext cx="2618778" cy="673300"/>
      </dsp:txXfrm>
    </dsp:sp>
    <dsp:sp modelId="{9B9AEDFC-941D-4EB9-9FDC-24771B0AE706}">
      <dsp:nvSpPr>
        <dsp:cNvPr id="0" name=""/>
        <dsp:cNvSpPr/>
      </dsp:nvSpPr>
      <dsp:spPr>
        <a:xfrm>
          <a:off x="8894266" y="0"/>
          <a:ext cx="3292078" cy="67330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/>
            <a:t>Proven</a:t>
          </a:r>
          <a:r>
            <a:rPr lang="de-DE" sz="1800" kern="1200" dirty="0"/>
            <a:t> Operational Services</a:t>
          </a:r>
        </a:p>
      </dsp:txBody>
      <dsp:txXfrm>
        <a:off x="9230916" y="0"/>
        <a:ext cx="2618778" cy="6733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672A81-E9EB-4206-A7A5-306408A53C05}" type="datetimeFigureOut">
              <a:rPr lang="en-GB" smtClean="0"/>
              <a:t>26/11/2024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007C21-88B0-4BEF-BE98-485EAAE7F82C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2107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i="1" dirty="0">
                <a:effectLst/>
                <a:latin typeface="Times New Roman" panose="02020603050405020304" pitchFamily="18" charset="0"/>
              </a:rPr>
              <a:t>Current Context</a:t>
            </a:r>
            <a:r>
              <a:rPr lang="en-GB" i="1" dirty="0">
                <a:effectLst/>
                <a:latin typeface="Times New Roman" panose="02020603050405020304" pitchFamily="18" charset="0"/>
              </a:rPr>
              <a:t>: Emerging issues and the opportunities they pres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ayWa’s history began 100 years ago with the co-operative agricultural trade: BayWa supplied and still supplies rural areas with everything that agriculture needs. </a:t>
            </a:r>
            <a:br>
              <a:rPr lang="en-GB" dirty="0"/>
            </a:br>
            <a:r>
              <a:rPr lang="en-GB" dirty="0"/>
              <a:t>Today, BayWa is grown to a global solution provider for our basic human needs: food, housing, heating, electricity and mobility.</a:t>
            </a:r>
            <a:endParaRPr lang="de-DE" dirty="0"/>
          </a:p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007C21-88B0-4BEF-BE98-485EAAE7F82C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3536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4C4276-7A2A-537F-495E-F4B728806A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FD91EF8-154A-F4C9-785A-C2FD51AED8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9BBFCF0-5633-C912-3E20-8B95B76F42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i="1" dirty="0">
                <a:effectLst/>
                <a:latin typeface="Times New Roman" panose="02020603050405020304" pitchFamily="18" charset="0"/>
              </a:rPr>
              <a:t>Current Context</a:t>
            </a:r>
            <a:r>
              <a:rPr lang="en-GB" i="1" dirty="0">
                <a:effectLst/>
                <a:latin typeface="Times New Roman" panose="02020603050405020304" pitchFamily="18" charset="0"/>
              </a:rPr>
              <a:t>: Emerging issues and the opportunities they present</a:t>
            </a:r>
          </a:p>
          <a:p>
            <a:r>
              <a:rPr lang="de-DE" dirty="0"/>
              <a:t>BayWa </a:t>
            </a:r>
            <a:r>
              <a:rPr lang="de-DE" dirty="0" err="1"/>
              <a:t>transaction</a:t>
            </a:r>
            <a:r>
              <a:rPr lang="de-DE" dirty="0"/>
              <a:t> </a:t>
            </a:r>
            <a:r>
              <a:rPr lang="de-DE" dirty="0" err="1"/>
              <a:t>motivation</a:t>
            </a:r>
            <a:r>
              <a:rPr lang="de-DE" dirty="0"/>
              <a:t>; </a:t>
            </a:r>
            <a:r>
              <a:rPr lang="de-DE" dirty="0" err="1"/>
              <a:t>buying</a:t>
            </a:r>
            <a:r>
              <a:rPr lang="de-DE" dirty="0"/>
              <a:t> </a:t>
            </a:r>
            <a:r>
              <a:rPr lang="de-DE" dirty="0" err="1"/>
              <a:t>expertise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EO, </a:t>
            </a:r>
            <a:r>
              <a:rPr lang="de-DE" dirty="0" err="1"/>
              <a:t>big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, AI </a:t>
            </a:r>
            <a:r>
              <a:rPr lang="de-DE" dirty="0" err="1"/>
              <a:t>to</a:t>
            </a:r>
            <a:r>
              <a:rPr lang="de-DE" dirty="0"/>
              <a:t> support </a:t>
            </a:r>
            <a:r>
              <a:rPr lang="de-DE" dirty="0" err="1"/>
              <a:t>transforma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digital </a:t>
            </a:r>
            <a:r>
              <a:rPr lang="de-DE" dirty="0" err="1"/>
              <a:t>agriculture</a:t>
            </a:r>
            <a:r>
              <a:rPr lang="de-DE" dirty="0"/>
              <a:t> –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many</a:t>
            </a:r>
            <a:r>
              <a:rPr lang="de-DE" dirty="0"/>
              <a:t> </a:t>
            </a:r>
            <a:r>
              <a:rPr lang="de-DE" dirty="0" err="1"/>
              <a:t>other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g</a:t>
            </a:r>
            <a:r>
              <a:rPr lang="de-DE" dirty="0"/>
              <a:t> </a:t>
            </a:r>
            <a:r>
              <a:rPr lang="de-DE" dirty="0" err="1"/>
              <a:t>industry</a:t>
            </a:r>
            <a:endParaRPr lang="de-DE" dirty="0"/>
          </a:p>
          <a:p>
            <a:r>
              <a:rPr lang="de-DE" dirty="0"/>
              <a:t>Vista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de-DE" dirty="0" err="1"/>
              <a:t>par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BayWa </a:t>
            </a:r>
            <a:r>
              <a:rPr lang="de-DE" dirty="0" err="1"/>
              <a:t>provides</a:t>
            </a:r>
            <a:r>
              <a:rPr lang="de-DE" dirty="0"/>
              <a:t> </a:t>
            </a:r>
            <a:r>
              <a:rPr lang="de-DE" dirty="0" err="1"/>
              <a:t>dedicated</a:t>
            </a:r>
            <a:r>
              <a:rPr lang="de-DE" dirty="0"/>
              <a:t> </a:t>
            </a:r>
            <a:r>
              <a:rPr lang="de-DE" dirty="0" err="1"/>
              <a:t>servic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BayWa, but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ginning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wan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hare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knowledge</a:t>
            </a:r>
            <a:r>
              <a:rPr lang="de-DE" dirty="0"/>
              <a:t>, </a:t>
            </a:r>
            <a:r>
              <a:rPr lang="de-DE" dirty="0" err="1"/>
              <a:t>being</a:t>
            </a:r>
            <a:r>
              <a:rPr lang="de-DE" dirty="0"/>
              <a:t> </a:t>
            </a:r>
            <a:r>
              <a:rPr lang="de-DE" dirty="0" err="1"/>
              <a:t>service</a:t>
            </a:r>
            <a:r>
              <a:rPr lang="de-DE" dirty="0"/>
              <a:t> </a:t>
            </a:r>
            <a:r>
              <a:rPr lang="de-DE" dirty="0" err="1"/>
              <a:t>provider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hole</a:t>
            </a:r>
            <a:r>
              <a:rPr lang="de-DE" dirty="0"/>
              <a:t> </a:t>
            </a:r>
            <a:r>
              <a:rPr lang="de-DE" dirty="0" err="1"/>
              <a:t>agricultral</a:t>
            </a:r>
            <a:r>
              <a:rPr lang="de-DE" dirty="0"/>
              <a:t> </a:t>
            </a:r>
            <a:r>
              <a:rPr lang="de-DE" dirty="0" err="1"/>
              <a:t>ecosystem</a:t>
            </a:r>
            <a:r>
              <a:rPr lang="de-DE" dirty="0"/>
              <a:t>.  </a:t>
            </a:r>
          </a:p>
          <a:p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67ADF82-6F5E-FA47-C399-A23EABE69A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007C21-88B0-4BEF-BE98-485EAAE7F82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30228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78D29C3-E32C-2C26-875A-B6579ECF11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E5F5040-03B4-08E2-A408-1AFDFF7E2C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BA29B151-BED4-B92A-D742-B82753801E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indent="0" algn="l">
              <a:lnSpc>
                <a:spcPts val="3152"/>
              </a:lnSpc>
              <a:buFont typeface="Arial"/>
              <a:buNone/>
            </a:pPr>
            <a:r>
              <a:rPr lang="en-GB" b="1" i="1" dirty="0">
                <a:effectLst/>
                <a:latin typeface="Times New Roman" panose="02020603050405020304" pitchFamily="18" charset="0"/>
              </a:rPr>
              <a:t>Embedding EO</a:t>
            </a:r>
            <a:r>
              <a:rPr lang="en-GB" i="1" dirty="0">
                <a:effectLst/>
                <a:latin typeface="Times New Roman" panose="02020603050405020304" pitchFamily="18" charset="0"/>
              </a:rPr>
              <a:t>: Building the necessary connections between EO and non-EO players to ensure access to the required analytics</a:t>
            </a:r>
          </a:p>
          <a:p>
            <a:pPr marL="261779" lvl="1" indent="0" algn="l">
              <a:lnSpc>
                <a:spcPts val="3152"/>
              </a:lnSpc>
              <a:buFont typeface="Arial"/>
              <a:buNone/>
            </a:pPr>
            <a:r>
              <a:rPr lang="en-US" i="0" dirty="0">
                <a:solidFill>
                  <a:srgbClr val="9B2B9A"/>
                </a:solidFill>
                <a:latin typeface="Play" panose="020B0604020202020204" charset="0"/>
                <a:ea typeface="Play"/>
                <a:cs typeface="Play"/>
                <a:sym typeface="Play"/>
              </a:rPr>
              <a:t>EO is key input to the </a:t>
            </a:r>
            <a:r>
              <a:rPr lang="en-GB" i="0" dirty="0">
                <a:solidFill>
                  <a:srgbClr val="9B2B9A"/>
                </a:solidFill>
                <a:latin typeface="Play" panose="020B0604020202020204" charset="0"/>
                <a:ea typeface="Play"/>
                <a:cs typeface="Play"/>
                <a:sym typeface="Play"/>
              </a:rPr>
              <a:t>digital and sustainable transformation of agriculture and provides the spatial reality in the digital twin approach</a:t>
            </a:r>
          </a:p>
          <a:p>
            <a:pPr marL="261779" lvl="1" indent="0" algn="l">
              <a:lnSpc>
                <a:spcPts val="3152"/>
              </a:lnSpc>
              <a:buFont typeface="Arial"/>
              <a:buNone/>
            </a:pPr>
            <a:endParaRPr lang="en-GB" b="1" i="0" dirty="0">
              <a:solidFill>
                <a:srgbClr val="9B2B9A"/>
              </a:solidFill>
              <a:effectLst/>
              <a:latin typeface="Play" panose="020B0604020202020204" charset="0"/>
              <a:sym typeface="Play"/>
            </a:endParaRPr>
          </a:p>
          <a:p>
            <a:pPr marL="0" lvl="1" indent="0" algn="l">
              <a:lnSpc>
                <a:spcPts val="3152"/>
              </a:lnSpc>
              <a:buFont typeface="Arial"/>
              <a:buNone/>
            </a:pPr>
            <a:r>
              <a:rPr lang="en-GB" b="1" i="1" dirty="0">
                <a:effectLst/>
                <a:latin typeface="Times New Roman" panose="02020603050405020304" pitchFamily="18" charset="0"/>
              </a:rPr>
              <a:t>Initiating Change</a:t>
            </a:r>
            <a:r>
              <a:rPr lang="en-GB" i="1" dirty="0">
                <a:effectLst/>
                <a:latin typeface="Times New Roman" panose="02020603050405020304" pitchFamily="18" charset="0"/>
              </a:rPr>
              <a:t>: How to introduce new analytics capabilities and the key challenges</a:t>
            </a:r>
          </a:p>
          <a:p>
            <a:pPr marL="261779" lvl="1" indent="0" algn="l">
              <a:lnSpc>
                <a:spcPts val="3152"/>
              </a:lnSpc>
              <a:buFont typeface="Arial"/>
              <a:buNone/>
            </a:pPr>
            <a:r>
              <a:rPr lang="en-GB" i="0" dirty="0">
                <a:solidFill>
                  <a:srgbClr val="9B2B9A"/>
                </a:solidFill>
                <a:latin typeface="Play" panose="020B0604020202020204" charset="0"/>
                <a:ea typeface="Play"/>
                <a:cs typeface="Play"/>
                <a:sym typeface="Play"/>
              </a:rPr>
              <a:t>However EO is only one component. Services need to be developed that fit the needs of farmers and ag businesses. One should not need to be </a:t>
            </a:r>
            <a:r>
              <a:rPr lang="en-GB" i="0" dirty="0" err="1">
                <a:solidFill>
                  <a:srgbClr val="9B2B9A"/>
                </a:solidFill>
                <a:latin typeface="Play" panose="020B0604020202020204" charset="0"/>
                <a:ea typeface="Play"/>
                <a:cs typeface="Play"/>
                <a:sym typeface="Play"/>
              </a:rPr>
              <a:t>be</a:t>
            </a:r>
            <a:r>
              <a:rPr lang="en-GB" i="0" dirty="0">
                <a:solidFill>
                  <a:srgbClr val="9B2B9A"/>
                </a:solidFill>
                <a:latin typeface="Play" panose="020B0604020202020204" charset="0"/>
                <a:ea typeface="Play"/>
                <a:cs typeface="Play"/>
                <a:sym typeface="Play"/>
              </a:rPr>
              <a:t> expert in the data analytic domain to understand and use the service. </a:t>
            </a:r>
            <a:endParaRPr lang="en-US" i="0" dirty="0">
              <a:solidFill>
                <a:srgbClr val="9B2B9A"/>
              </a:solidFill>
              <a:latin typeface="Play" panose="020B0604020202020204" charset="0"/>
              <a:ea typeface="Play"/>
              <a:cs typeface="Play"/>
              <a:sym typeface="Play"/>
            </a:endParaRPr>
          </a:p>
          <a:p>
            <a:endParaRPr lang="en-GB" b="1" dirty="0">
              <a:effectLst/>
              <a:latin typeface="Times New Roman" panose="02020603050405020304" pitchFamily="18" charset="0"/>
            </a:endParaRPr>
          </a:p>
          <a:p>
            <a:endParaRPr lang="de-DE" i="1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7690F47-CC1D-E972-74D3-28487C7A32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9F2F47-17B9-B440-9B67-93B9C4BEB082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47456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618D22-A983-D83A-CBFF-56260ABDA0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17B8788-4076-3491-F4D3-C01BD6D20BC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2F0C79E-D38E-C231-0D8A-D9BEBA8B03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indent="0" algn="l">
              <a:lnSpc>
                <a:spcPts val="3152"/>
              </a:lnSpc>
              <a:buFont typeface="Arial"/>
              <a:buNone/>
            </a:pPr>
            <a:r>
              <a:rPr lang="en-GB" b="1" i="1" dirty="0">
                <a:effectLst/>
                <a:latin typeface="Times New Roman" panose="02020603050405020304" pitchFamily="18" charset="0"/>
              </a:rPr>
              <a:t>Initiating Change</a:t>
            </a:r>
            <a:r>
              <a:rPr lang="en-GB" i="1" dirty="0">
                <a:effectLst/>
                <a:latin typeface="Times New Roman" panose="02020603050405020304" pitchFamily="18" charset="0"/>
              </a:rPr>
              <a:t>: How to introduce new analytics capabilities and the key challenges</a:t>
            </a:r>
          </a:p>
          <a:p>
            <a:pPr marL="261779" lvl="1" indent="0" algn="l">
              <a:lnSpc>
                <a:spcPts val="3152"/>
              </a:lnSpc>
              <a:buFont typeface="Arial"/>
              <a:buNone/>
            </a:pPr>
            <a:r>
              <a:rPr lang="en-GB" i="0" dirty="0">
                <a:solidFill>
                  <a:srgbClr val="9B2B9A"/>
                </a:solidFill>
                <a:latin typeface="Play" panose="020B0604020202020204" charset="0"/>
                <a:ea typeface="Play"/>
                <a:cs typeface="Play"/>
                <a:sym typeface="Play"/>
              </a:rPr>
              <a:t>However EO is only one component. Services need to be developed that fit the needs of farmers and ag businesses. One should not need to be </a:t>
            </a:r>
            <a:r>
              <a:rPr lang="en-GB" i="0" dirty="0" err="1">
                <a:solidFill>
                  <a:srgbClr val="9B2B9A"/>
                </a:solidFill>
                <a:latin typeface="Play" panose="020B0604020202020204" charset="0"/>
                <a:ea typeface="Play"/>
                <a:cs typeface="Play"/>
                <a:sym typeface="Play"/>
              </a:rPr>
              <a:t>be</a:t>
            </a:r>
            <a:r>
              <a:rPr lang="en-GB" i="0" dirty="0">
                <a:solidFill>
                  <a:srgbClr val="9B2B9A"/>
                </a:solidFill>
                <a:latin typeface="Play" panose="020B0604020202020204" charset="0"/>
                <a:ea typeface="Play"/>
                <a:cs typeface="Play"/>
                <a:sym typeface="Play"/>
              </a:rPr>
              <a:t> expert in the data analytic domain to understand and use the service. </a:t>
            </a:r>
            <a:endParaRPr lang="en-US" i="0" dirty="0">
              <a:solidFill>
                <a:srgbClr val="9B2B9A"/>
              </a:solidFill>
              <a:latin typeface="Play" panose="020B0604020202020204" charset="0"/>
              <a:ea typeface="Play"/>
              <a:cs typeface="Play"/>
              <a:sym typeface="Play"/>
            </a:endParaRPr>
          </a:p>
          <a:p>
            <a:endParaRPr lang="en-GB" b="1" dirty="0">
              <a:effectLst/>
              <a:latin typeface="Times New Roman" panose="02020603050405020304" pitchFamily="18" charset="0"/>
            </a:endParaRPr>
          </a:p>
          <a:p>
            <a:endParaRPr lang="de-DE" i="1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3780CBC-11F8-2AFC-6B8B-027201F009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9F2F47-17B9-B440-9B67-93B9C4BEB082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98027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i="1" dirty="0">
                <a:effectLst/>
                <a:latin typeface="Times New Roman" panose="02020603050405020304" pitchFamily="18" charset="0"/>
              </a:rPr>
              <a:t>Scaling Up</a:t>
            </a:r>
            <a:r>
              <a:rPr lang="en-GB" i="1" dirty="0">
                <a:effectLst/>
                <a:latin typeface="Times New Roman" panose="02020603050405020304" pitchFamily="18" charset="0"/>
              </a:rPr>
              <a:t>: Encouraging broader adoption within the indust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i="0" dirty="0">
                <a:effectLst/>
                <a:latin typeface="Times New Roman" panose="02020603050405020304" pitchFamily="18" charset="0"/>
              </a:rPr>
              <a:t>Copernicus was/is a key enabler to success and ROI</a:t>
            </a:r>
            <a:br>
              <a:rPr lang="en-GB" dirty="0">
                <a:effectLst/>
                <a:latin typeface="Times New Roman" panose="02020603050405020304" pitchFamily="18" charset="0"/>
              </a:rPr>
            </a:br>
            <a:r>
              <a:rPr lang="en-GB" dirty="0">
                <a:effectLst/>
                <a:latin typeface="Times New Roman" panose="02020603050405020304" pitchFamily="18" charset="0"/>
              </a:rPr>
              <a:t>I</a:t>
            </a:r>
            <a:r>
              <a:rPr lang="de-DE" dirty="0" err="1"/>
              <a:t>nvestment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caling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high. </a:t>
            </a:r>
            <a:r>
              <a:rPr lang="de-DE" dirty="0" err="1"/>
              <a:t>Scaling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at </a:t>
            </a:r>
            <a:r>
              <a:rPr lang="de-DE" dirty="0" err="1"/>
              <a:t>present</a:t>
            </a:r>
            <a:r>
              <a:rPr lang="de-DE" dirty="0"/>
              <a:t> </a:t>
            </a:r>
            <a:r>
              <a:rPr lang="de-DE" dirty="0" err="1"/>
              <a:t>requires</a:t>
            </a:r>
            <a:r>
              <a:rPr lang="de-DE"/>
              <a:t> support.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9F2F47-17B9-B440-9B67-93B9C4BEB082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4692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2.png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2.png"/><Relationship Id="rId4" Type="http://schemas.openxmlformats.org/officeDocument/2006/relationships/image" Target="../media/image7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7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7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.png"/><Relationship Id="rId4" Type="http://schemas.openxmlformats.org/officeDocument/2006/relationships/image" Target="../media/image7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2.png"/><Relationship Id="rId4" Type="http://schemas.openxmlformats.org/officeDocument/2006/relationships/image" Target="../media/image7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png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hyperlink" Target="mailto:mail@vista-geo.de" TargetMode="Externa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8.jp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hyperlink" Target="mailto:mail@vista-geo.de" TargetMode="Externa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8.jp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hyperlink" Target="mailto:mail@vista-geo.de" TargetMode="Externa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3.bin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BayWa_eng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B4990962-E4B2-323D-59C6-79C9B8EA36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LineDraw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018"/>
          <a:stretch/>
        </p:blipFill>
        <p:spPr>
          <a:xfrm flipH="1">
            <a:off x="-9524" y="0"/>
            <a:ext cx="12201523" cy="6858000"/>
          </a:xfrm>
          <a:prstGeom prst="rect">
            <a:avLst/>
          </a:prstGeom>
        </p:spPr>
      </p:pic>
      <p:pic>
        <p:nvPicPr>
          <p:cNvPr id="7" name="Grafik 6">
            <a:hlinkClick r:id="" action="ppaction://noaction"/>
            <a:extLst>
              <a:ext uri="{FF2B5EF4-FFF2-40B4-BE49-F238E27FC236}">
                <a16:creationId xmlns:a16="http://schemas.microsoft.com/office/drawing/2014/main" id="{FA52836A-01E4-5358-EAEC-29C7EF4651C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103" y="105100"/>
            <a:ext cx="1977193" cy="1977193"/>
          </a:xfrm>
          <a:prstGeom prst="rect">
            <a:avLst/>
          </a:prstGeom>
        </p:spPr>
      </p:pic>
      <p:sp>
        <p:nvSpPr>
          <p:cNvPr id="8" name="Gleichschenkliges Dreieck 2">
            <a:extLst>
              <a:ext uri="{FF2B5EF4-FFF2-40B4-BE49-F238E27FC236}">
                <a16:creationId xmlns:a16="http://schemas.microsoft.com/office/drawing/2014/main" id="{B4259E89-5098-184D-D2CB-2B4070204F41}"/>
              </a:ext>
            </a:extLst>
          </p:cNvPr>
          <p:cNvSpPr/>
          <p:nvPr userDrawn="1"/>
        </p:nvSpPr>
        <p:spPr>
          <a:xfrm rot="10800000">
            <a:off x="-16591" y="-4536"/>
            <a:ext cx="995664" cy="1723971"/>
          </a:xfrm>
          <a:custGeom>
            <a:avLst/>
            <a:gdLst>
              <a:gd name="connsiteX0" fmla="*/ 0 w 1977193"/>
              <a:gd name="connsiteY0" fmla="*/ 1719436 h 1719436"/>
              <a:gd name="connsiteX1" fmla="*/ 988597 w 1977193"/>
              <a:gd name="connsiteY1" fmla="*/ 0 h 1719436"/>
              <a:gd name="connsiteX2" fmla="*/ 1977193 w 1977193"/>
              <a:gd name="connsiteY2" fmla="*/ 1719436 h 1719436"/>
              <a:gd name="connsiteX3" fmla="*/ 0 w 1977193"/>
              <a:gd name="connsiteY3" fmla="*/ 1719436 h 1719436"/>
              <a:gd name="connsiteX0" fmla="*/ 0 w 1033764"/>
              <a:gd name="connsiteY0" fmla="*/ 1719436 h 1719436"/>
              <a:gd name="connsiteX1" fmla="*/ 988597 w 1033764"/>
              <a:gd name="connsiteY1" fmla="*/ 0 h 1719436"/>
              <a:gd name="connsiteX2" fmla="*/ 1033764 w 1033764"/>
              <a:gd name="connsiteY2" fmla="*/ 1704921 h 1719436"/>
              <a:gd name="connsiteX3" fmla="*/ 0 w 1033764"/>
              <a:gd name="connsiteY3" fmla="*/ 1719436 h 1719436"/>
              <a:gd name="connsiteX0" fmla="*/ 0 w 1014714"/>
              <a:gd name="connsiteY0" fmla="*/ 1719436 h 1719436"/>
              <a:gd name="connsiteX1" fmla="*/ 988597 w 1014714"/>
              <a:gd name="connsiteY1" fmla="*/ 0 h 1719436"/>
              <a:gd name="connsiteX2" fmla="*/ 1014714 w 1014714"/>
              <a:gd name="connsiteY2" fmla="*/ 1714446 h 1719436"/>
              <a:gd name="connsiteX3" fmla="*/ 0 w 1014714"/>
              <a:gd name="connsiteY3" fmla="*/ 1719436 h 1719436"/>
              <a:gd name="connsiteX0" fmla="*/ 0 w 995664"/>
              <a:gd name="connsiteY0" fmla="*/ 1719436 h 1723971"/>
              <a:gd name="connsiteX1" fmla="*/ 988597 w 995664"/>
              <a:gd name="connsiteY1" fmla="*/ 0 h 1723971"/>
              <a:gd name="connsiteX2" fmla="*/ 995664 w 995664"/>
              <a:gd name="connsiteY2" fmla="*/ 1723971 h 1723971"/>
              <a:gd name="connsiteX3" fmla="*/ 0 w 995664"/>
              <a:gd name="connsiteY3" fmla="*/ 1719436 h 1723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5664" h="1723971">
                <a:moveTo>
                  <a:pt x="0" y="1719436"/>
                </a:moveTo>
                <a:lnTo>
                  <a:pt x="988597" y="0"/>
                </a:lnTo>
                <a:cubicBezTo>
                  <a:pt x="990953" y="574657"/>
                  <a:pt x="993308" y="1149314"/>
                  <a:pt x="995664" y="1723971"/>
                </a:cubicBezTo>
                <a:lnTo>
                  <a:pt x="0" y="1719436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9" name="Gleichschenkliges Dreieck 3">
            <a:extLst>
              <a:ext uri="{FF2B5EF4-FFF2-40B4-BE49-F238E27FC236}">
                <a16:creationId xmlns:a16="http://schemas.microsoft.com/office/drawing/2014/main" id="{FAA10E0B-AE05-3AC2-4F61-400357E5A527}"/>
              </a:ext>
            </a:extLst>
          </p:cNvPr>
          <p:cNvSpPr/>
          <p:nvPr userDrawn="1"/>
        </p:nvSpPr>
        <p:spPr>
          <a:xfrm rot="14482413">
            <a:off x="10194499" y="4219975"/>
            <a:ext cx="2649471" cy="2987929"/>
          </a:xfrm>
          <a:custGeom>
            <a:avLst/>
            <a:gdLst>
              <a:gd name="connsiteX0" fmla="*/ 0 w 3641527"/>
              <a:gd name="connsiteY0" fmla="*/ 2987929 h 2987929"/>
              <a:gd name="connsiteX1" fmla="*/ 1820764 w 3641527"/>
              <a:gd name="connsiteY1" fmla="*/ 0 h 2987929"/>
              <a:gd name="connsiteX2" fmla="*/ 3641527 w 3641527"/>
              <a:gd name="connsiteY2" fmla="*/ 2987929 h 2987929"/>
              <a:gd name="connsiteX3" fmla="*/ 0 w 3641527"/>
              <a:gd name="connsiteY3" fmla="*/ 2987929 h 2987929"/>
              <a:gd name="connsiteX0" fmla="*/ 0 w 2663927"/>
              <a:gd name="connsiteY0" fmla="*/ 1584534 h 2987929"/>
              <a:gd name="connsiteX1" fmla="*/ 843164 w 2663927"/>
              <a:gd name="connsiteY1" fmla="*/ 0 h 2987929"/>
              <a:gd name="connsiteX2" fmla="*/ 2663927 w 2663927"/>
              <a:gd name="connsiteY2" fmla="*/ 2987929 h 2987929"/>
              <a:gd name="connsiteX3" fmla="*/ 0 w 2663927"/>
              <a:gd name="connsiteY3" fmla="*/ 1584534 h 2987929"/>
              <a:gd name="connsiteX0" fmla="*/ 0 w 2649471"/>
              <a:gd name="connsiteY0" fmla="*/ 1538167 h 2987929"/>
              <a:gd name="connsiteX1" fmla="*/ 828708 w 2649471"/>
              <a:gd name="connsiteY1" fmla="*/ 0 h 2987929"/>
              <a:gd name="connsiteX2" fmla="*/ 2649471 w 2649471"/>
              <a:gd name="connsiteY2" fmla="*/ 2987929 h 2987929"/>
              <a:gd name="connsiteX3" fmla="*/ 0 w 2649471"/>
              <a:gd name="connsiteY3" fmla="*/ 1538167 h 2987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9471" h="2987929">
                <a:moveTo>
                  <a:pt x="0" y="1538167"/>
                </a:moveTo>
                <a:lnTo>
                  <a:pt x="828708" y="0"/>
                </a:lnTo>
                <a:lnTo>
                  <a:pt x="2649471" y="2987929"/>
                </a:lnTo>
                <a:lnTo>
                  <a:pt x="0" y="1538167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2" name="Freihandform: Form 23">
            <a:extLst>
              <a:ext uri="{FF2B5EF4-FFF2-40B4-BE49-F238E27FC236}">
                <a16:creationId xmlns:a16="http://schemas.microsoft.com/office/drawing/2014/main" id="{8AAF2EA6-186B-3F7A-6EA7-37057EE9E372}"/>
              </a:ext>
            </a:extLst>
          </p:cNvPr>
          <p:cNvSpPr/>
          <p:nvPr userDrawn="1"/>
        </p:nvSpPr>
        <p:spPr>
          <a:xfrm rot="5400000" flipH="1">
            <a:off x="-1461793" y="-1035560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accent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>
              <a:solidFill>
                <a:schemeClr val="bg1"/>
              </a:solidFill>
              <a:effectLst/>
            </a:endParaRPr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DE9C74A9-73CD-EC96-9BF4-25169F52E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8" y="1052513"/>
            <a:ext cx="5346618" cy="1477328"/>
          </a:xfrm>
        </p:spPr>
        <p:txBody>
          <a:bodyPr vert="horz"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78454EF1-E151-A776-A7E2-8BB82CD70E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37" y="2841373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Verfasser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D67D627B-236D-3144-C97B-D498E076B5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0037" y="3227739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70098F7-915D-0F30-DBEF-A34E8097B8E9}"/>
              </a:ext>
            </a:extLst>
          </p:cNvPr>
          <p:cNvSpPr txBox="1"/>
          <p:nvPr userDrawn="1"/>
        </p:nvSpPr>
        <p:spPr>
          <a:xfrm>
            <a:off x="235041" y="4123500"/>
            <a:ext cx="2392249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ista Gmb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ounded 199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chemeClr val="tx1"/>
                </a:solidFill>
                <a:latin typeface="Calibri" panose="020F0502020204030204" pitchFamily="34" charset="0"/>
              </a:rPr>
              <a:t>based in Munich</a:t>
            </a:r>
            <a:br>
              <a:rPr lang="en-US" kern="0" dirty="0">
                <a:solidFill>
                  <a:schemeClr val="tx1"/>
                </a:solidFill>
                <a:latin typeface="Calibri" panose="020F0502020204030204" pitchFamily="34" charset="0"/>
              </a:rPr>
            </a:br>
            <a:r>
              <a:rPr lang="en-US" kern="0" dirty="0">
                <a:solidFill>
                  <a:schemeClr val="tx1"/>
                </a:solidFill>
                <a:latin typeface="Calibri" panose="020F0502020204030204" pitchFamily="34" charset="0"/>
              </a:rPr>
              <a:t>www.vista-geo.com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chemeClr val="tx1"/>
                </a:solidFill>
                <a:latin typeface="Calibri" panose="020F0502020204030204" pitchFamily="34" charset="0"/>
              </a:rPr>
              <a:t>since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2017 BayWa AG 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jority shareholde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64F8105-0F94-55C9-FA2E-75EEDADDECC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290" y="5569250"/>
            <a:ext cx="584497" cy="61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4403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//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1044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82F7FFF-4C5B-4019-9384-D49F46D526EB}"/>
              </a:ext>
            </a:extLst>
          </p:cNvPr>
          <p:cNvGrpSpPr/>
          <p:nvPr userDrawn="1"/>
        </p:nvGrpSpPr>
        <p:grpSpPr>
          <a:xfrm>
            <a:off x="218788" y="4129539"/>
            <a:ext cx="11754424" cy="2397135"/>
            <a:chOff x="705451" y="5066408"/>
            <a:chExt cx="11671993" cy="2380324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586F8AD-DF01-425F-82E1-C7B3B54D2332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9BEDEC5-A311-4772-8ED2-5EF31FB83501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FE7D64E6-1F9F-4943-B9B8-CBECB838132F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7" name="Freeform 38">
              <a:extLst>
                <a:ext uri="{FF2B5EF4-FFF2-40B4-BE49-F238E27FC236}">
                  <a16:creationId xmlns:a16="http://schemas.microsoft.com/office/drawing/2014/main" id="{DB665266-C462-42A5-A4D5-0A4E4B3C8209}"/>
                </a:ext>
              </a:extLst>
            </p:cNvPr>
            <p:cNvSpPr/>
            <p:nvPr/>
          </p:nvSpPr>
          <p:spPr>
            <a:xfrm rot="10800000">
              <a:off x="7823797" y="5066408"/>
              <a:ext cx="3171078" cy="2379260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53017"/>
                <a:gd name="connsiteX1" fmla="*/ 2327681 w 2327681"/>
                <a:gd name="connsiteY1" fmla="*/ 0 h 1453017"/>
                <a:gd name="connsiteX2" fmla="*/ 1123354 w 2327681"/>
                <a:gd name="connsiteY2" fmla="*/ 1453017 h 1453017"/>
                <a:gd name="connsiteX3" fmla="*/ 0 w 2327681"/>
                <a:gd name="connsiteY3" fmla="*/ 1443354 h 1453017"/>
                <a:gd name="connsiteX4" fmla="*/ 0 w 2327681"/>
                <a:gd name="connsiteY4" fmla="*/ 0 h 1453017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357212 w 2327681"/>
                <a:gd name="connsiteY2" fmla="*/ 1404700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50756 w 2327681"/>
                <a:gd name="connsiteY2" fmla="*/ 141436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46128 w 2327681"/>
                <a:gd name="connsiteY2" fmla="*/ 1441140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18357 w 2327681"/>
                <a:gd name="connsiteY2" fmla="*/ 1437315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18357 w 2327681"/>
                <a:gd name="connsiteY2" fmla="*/ 1439228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20093 w 2327681"/>
                <a:gd name="connsiteY2" fmla="*/ 1442097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1420093" y="1442097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74C0010-5739-4C1C-9594-DB2D0795E5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53291 w 12192000"/>
              <a:gd name="connsiteY0" fmla="*/ 4130612 h 6858000"/>
              <a:gd name="connsiteX1" fmla="*/ 353291 w 12192000"/>
              <a:gd name="connsiteY1" fmla="*/ 6524625 h 6858000"/>
              <a:gd name="connsiteX2" fmla="*/ 11838710 w 12192000"/>
              <a:gd name="connsiteY2" fmla="*/ 6524625 h 6858000"/>
              <a:gd name="connsiteX3" fmla="*/ 11838710 w 12192000"/>
              <a:gd name="connsiteY3" fmla="*/ 413061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53291" y="4130612"/>
                </a:moveTo>
                <a:lnTo>
                  <a:pt x="353291" y="6524625"/>
                </a:lnTo>
                <a:lnTo>
                  <a:pt x="11838710" y="6524625"/>
                </a:lnTo>
                <a:lnTo>
                  <a:pt x="11838710" y="413061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19B77B6-560F-4AB3-8F49-584C755101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4589979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600" kern="100" spc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style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063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A4A3A4"/>
          </p15:clr>
        </p15:guide>
        <p15:guide id="2" pos="483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64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  <p15:guide id="8" orient="horz" pos="4110">
          <p15:clr>
            <a:srgbClr val="F26B43"/>
          </p15:clr>
        </p15:guide>
        <p15:guide id="9" pos="226">
          <p15:clr>
            <a:srgbClr val="F26B43"/>
          </p15:clr>
        </p15:guide>
        <p15:guide id="10" pos="7452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PETROL // Bild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1044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82F7FFF-4C5B-4019-9384-D49F46D526EB}"/>
              </a:ext>
            </a:extLst>
          </p:cNvPr>
          <p:cNvGrpSpPr/>
          <p:nvPr userDrawn="1"/>
        </p:nvGrpSpPr>
        <p:grpSpPr>
          <a:xfrm>
            <a:off x="218788" y="4129542"/>
            <a:ext cx="11754424" cy="2397138"/>
            <a:chOff x="705451" y="5066407"/>
            <a:chExt cx="11671993" cy="2380325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586F8AD-DF01-425F-82E1-C7B3B54D2332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9BEDEC5-A311-4772-8ED2-5EF31FB83501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FE7D64E6-1F9F-4943-B9B8-CBECB838132F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7" name="Freeform 38">
              <a:extLst>
                <a:ext uri="{FF2B5EF4-FFF2-40B4-BE49-F238E27FC236}">
                  <a16:creationId xmlns:a16="http://schemas.microsoft.com/office/drawing/2014/main" id="{DB665266-C462-42A5-A4D5-0A4E4B3C8209}"/>
                </a:ext>
              </a:extLst>
            </p:cNvPr>
            <p:cNvSpPr/>
            <p:nvPr/>
          </p:nvSpPr>
          <p:spPr>
            <a:xfrm rot="10800000">
              <a:off x="7823797" y="5066407"/>
              <a:ext cx="3171078" cy="2379260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53017"/>
                <a:gd name="connsiteX1" fmla="*/ 2327681 w 2327681"/>
                <a:gd name="connsiteY1" fmla="*/ 0 h 1453017"/>
                <a:gd name="connsiteX2" fmla="*/ 1123354 w 2327681"/>
                <a:gd name="connsiteY2" fmla="*/ 1453017 h 1453017"/>
                <a:gd name="connsiteX3" fmla="*/ 0 w 2327681"/>
                <a:gd name="connsiteY3" fmla="*/ 1443354 h 1453017"/>
                <a:gd name="connsiteX4" fmla="*/ 0 w 2327681"/>
                <a:gd name="connsiteY4" fmla="*/ 0 h 1453017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357212 w 2327681"/>
                <a:gd name="connsiteY2" fmla="*/ 1404700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50756 w 2327681"/>
                <a:gd name="connsiteY2" fmla="*/ 141436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46128 w 2327681"/>
                <a:gd name="connsiteY2" fmla="*/ 1441140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18357 w 2327681"/>
                <a:gd name="connsiteY2" fmla="*/ 1437315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18357 w 2327681"/>
                <a:gd name="connsiteY2" fmla="*/ 1439228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20093 w 2327681"/>
                <a:gd name="connsiteY2" fmla="*/ 1442097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1420093" y="1442097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74C0010-5739-4C1C-9594-DB2D0795E53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53291 w 12192000"/>
              <a:gd name="connsiteY0" fmla="*/ 4130612 h 6858000"/>
              <a:gd name="connsiteX1" fmla="*/ 353291 w 12192000"/>
              <a:gd name="connsiteY1" fmla="*/ 6524625 h 6858000"/>
              <a:gd name="connsiteX2" fmla="*/ 11838710 w 12192000"/>
              <a:gd name="connsiteY2" fmla="*/ 6524625 h 6858000"/>
              <a:gd name="connsiteX3" fmla="*/ 11838710 w 12192000"/>
              <a:gd name="connsiteY3" fmla="*/ 413061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53291" y="4130612"/>
                </a:moveTo>
                <a:lnTo>
                  <a:pt x="353291" y="6524625"/>
                </a:lnTo>
                <a:lnTo>
                  <a:pt x="11838710" y="6524625"/>
                </a:lnTo>
                <a:lnTo>
                  <a:pt x="11838710" y="413061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19B77B6-560F-4AB3-8F49-584C755101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4589979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600" kern="100" spc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style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162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A4A3A4"/>
          </p15:clr>
        </p15:guide>
        <p15:guide id="2" pos="483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64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  <p15:guide id="8" orient="horz" pos="4110">
          <p15:clr>
            <a:srgbClr val="F26B43"/>
          </p15:clr>
        </p15:guide>
        <p15:guide id="9" pos="226">
          <p15:clr>
            <a:srgbClr val="F26B43"/>
          </p15:clr>
        </p15:guide>
        <p15:guide id="10" pos="7452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ganzseitig // Bilplatzhalter mit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9011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662DB07-81B8-4BDA-8345-7D0D9D3C5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AFB56EF-E792-40E5-AEB2-936FD2D0D4D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bIns="1584000" anchor="b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E9CC2C3-73C3-41F8-A9F3-4DFF1E4B52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4060" y="2551870"/>
            <a:ext cx="9743879" cy="677108"/>
          </a:xfrm>
        </p:spPr>
        <p:txBody>
          <a:bodyPr anchor="ctr">
            <a:spAutoFit/>
          </a:bodyPr>
          <a:lstStyle>
            <a:lvl1pPr marL="0" indent="0" algn="ctr">
              <a:spcAft>
                <a:spcPts val="0"/>
              </a:spcAft>
              <a:buNone/>
              <a:defRPr sz="44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D9532E4-1362-09AD-F333-70D95A36BF3E}"/>
              </a:ext>
            </a:extLst>
          </p:cNvPr>
          <p:cNvSpPr/>
          <p:nvPr userDrawn="1"/>
        </p:nvSpPr>
        <p:spPr bwMode="auto">
          <a:xfrm>
            <a:off x="11192256" y="0"/>
            <a:ext cx="999744" cy="963168"/>
          </a:xfrm>
          <a:prstGeom prst="rect">
            <a:avLst/>
          </a:prstGeom>
          <a:solidFill>
            <a:schemeClr val="accent2">
              <a:alpha val="76863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4" name="Grafik 3">
            <a:hlinkClick r:id="" action="ppaction://noaction"/>
            <a:extLst>
              <a:ext uri="{FF2B5EF4-FFF2-40B4-BE49-F238E27FC236}">
                <a16:creationId xmlns:a16="http://schemas.microsoft.com/office/drawing/2014/main" id="{46830C55-CB5E-5AEE-E0EE-E82EAD28DED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4243" y="107974"/>
            <a:ext cx="760427" cy="76042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41141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// 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0047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0" y="0"/>
            <a:ext cx="11028363" cy="9445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F9595B-11B3-4259-84E9-EA0F02B6A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" name="Picture Placeholder 10">
            <a:extLst>
              <a:ext uri="{FF2B5EF4-FFF2-40B4-BE49-F238E27FC236}">
                <a16:creationId xmlns:a16="http://schemas.microsoft.com/office/drawing/2014/main" id="{284F199E-46A8-C937-5B07-7C76C82413E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944563"/>
            <a:ext cx="12192000" cy="591343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bIns="1584000" anchor="b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25969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folie // Bilplatzhalt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098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662DB07-81B8-4BDA-8345-7D0D9D3C5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E9CC2C3-73C3-41F8-A9F3-4DFF1E4B52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4061" y="3092783"/>
            <a:ext cx="9743879" cy="677108"/>
          </a:xfrm>
        </p:spPr>
        <p:txBody>
          <a:bodyPr anchor="ctr">
            <a:spAutoFit/>
          </a:bodyPr>
          <a:lstStyle>
            <a:lvl1pPr marL="0" indent="0" algn="ctr">
              <a:spcAft>
                <a:spcPts val="0"/>
              </a:spcAft>
              <a:buNone/>
              <a:defRPr sz="44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" name="Gleichschenkliges Dreieck 2">
            <a:extLst>
              <a:ext uri="{FF2B5EF4-FFF2-40B4-BE49-F238E27FC236}">
                <a16:creationId xmlns:a16="http://schemas.microsoft.com/office/drawing/2014/main" id="{999C1BE7-AEF1-7D72-859F-A3E92A7665B5}"/>
              </a:ext>
            </a:extLst>
          </p:cNvPr>
          <p:cNvSpPr/>
          <p:nvPr userDrawn="1"/>
        </p:nvSpPr>
        <p:spPr>
          <a:xfrm rot="10800000">
            <a:off x="-16591" y="-4536"/>
            <a:ext cx="995664" cy="1723971"/>
          </a:xfrm>
          <a:custGeom>
            <a:avLst/>
            <a:gdLst>
              <a:gd name="connsiteX0" fmla="*/ 0 w 1977193"/>
              <a:gd name="connsiteY0" fmla="*/ 1719436 h 1719436"/>
              <a:gd name="connsiteX1" fmla="*/ 988597 w 1977193"/>
              <a:gd name="connsiteY1" fmla="*/ 0 h 1719436"/>
              <a:gd name="connsiteX2" fmla="*/ 1977193 w 1977193"/>
              <a:gd name="connsiteY2" fmla="*/ 1719436 h 1719436"/>
              <a:gd name="connsiteX3" fmla="*/ 0 w 1977193"/>
              <a:gd name="connsiteY3" fmla="*/ 1719436 h 1719436"/>
              <a:gd name="connsiteX0" fmla="*/ 0 w 1033764"/>
              <a:gd name="connsiteY0" fmla="*/ 1719436 h 1719436"/>
              <a:gd name="connsiteX1" fmla="*/ 988597 w 1033764"/>
              <a:gd name="connsiteY1" fmla="*/ 0 h 1719436"/>
              <a:gd name="connsiteX2" fmla="*/ 1033764 w 1033764"/>
              <a:gd name="connsiteY2" fmla="*/ 1704921 h 1719436"/>
              <a:gd name="connsiteX3" fmla="*/ 0 w 1033764"/>
              <a:gd name="connsiteY3" fmla="*/ 1719436 h 1719436"/>
              <a:gd name="connsiteX0" fmla="*/ 0 w 1014714"/>
              <a:gd name="connsiteY0" fmla="*/ 1719436 h 1719436"/>
              <a:gd name="connsiteX1" fmla="*/ 988597 w 1014714"/>
              <a:gd name="connsiteY1" fmla="*/ 0 h 1719436"/>
              <a:gd name="connsiteX2" fmla="*/ 1014714 w 1014714"/>
              <a:gd name="connsiteY2" fmla="*/ 1714446 h 1719436"/>
              <a:gd name="connsiteX3" fmla="*/ 0 w 1014714"/>
              <a:gd name="connsiteY3" fmla="*/ 1719436 h 1719436"/>
              <a:gd name="connsiteX0" fmla="*/ 0 w 995664"/>
              <a:gd name="connsiteY0" fmla="*/ 1719436 h 1723971"/>
              <a:gd name="connsiteX1" fmla="*/ 988597 w 995664"/>
              <a:gd name="connsiteY1" fmla="*/ 0 h 1723971"/>
              <a:gd name="connsiteX2" fmla="*/ 995664 w 995664"/>
              <a:gd name="connsiteY2" fmla="*/ 1723971 h 1723971"/>
              <a:gd name="connsiteX3" fmla="*/ 0 w 995664"/>
              <a:gd name="connsiteY3" fmla="*/ 1719436 h 1723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5664" h="1723971">
                <a:moveTo>
                  <a:pt x="0" y="1719436"/>
                </a:moveTo>
                <a:lnTo>
                  <a:pt x="988597" y="0"/>
                </a:lnTo>
                <a:cubicBezTo>
                  <a:pt x="990953" y="574657"/>
                  <a:pt x="993308" y="1149314"/>
                  <a:pt x="995664" y="1723971"/>
                </a:cubicBezTo>
                <a:lnTo>
                  <a:pt x="0" y="1719436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3" name="Gleichschenkliges Dreieck 3">
            <a:extLst>
              <a:ext uri="{FF2B5EF4-FFF2-40B4-BE49-F238E27FC236}">
                <a16:creationId xmlns:a16="http://schemas.microsoft.com/office/drawing/2014/main" id="{806D6EBA-7244-FFF6-E77C-2DFFAC33891E}"/>
              </a:ext>
            </a:extLst>
          </p:cNvPr>
          <p:cNvSpPr/>
          <p:nvPr userDrawn="1"/>
        </p:nvSpPr>
        <p:spPr>
          <a:xfrm rot="14482413">
            <a:off x="10194499" y="4219975"/>
            <a:ext cx="2649471" cy="2987929"/>
          </a:xfrm>
          <a:custGeom>
            <a:avLst/>
            <a:gdLst>
              <a:gd name="connsiteX0" fmla="*/ 0 w 3641527"/>
              <a:gd name="connsiteY0" fmla="*/ 2987929 h 2987929"/>
              <a:gd name="connsiteX1" fmla="*/ 1820764 w 3641527"/>
              <a:gd name="connsiteY1" fmla="*/ 0 h 2987929"/>
              <a:gd name="connsiteX2" fmla="*/ 3641527 w 3641527"/>
              <a:gd name="connsiteY2" fmla="*/ 2987929 h 2987929"/>
              <a:gd name="connsiteX3" fmla="*/ 0 w 3641527"/>
              <a:gd name="connsiteY3" fmla="*/ 2987929 h 2987929"/>
              <a:gd name="connsiteX0" fmla="*/ 0 w 2663927"/>
              <a:gd name="connsiteY0" fmla="*/ 1584534 h 2987929"/>
              <a:gd name="connsiteX1" fmla="*/ 843164 w 2663927"/>
              <a:gd name="connsiteY1" fmla="*/ 0 h 2987929"/>
              <a:gd name="connsiteX2" fmla="*/ 2663927 w 2663927"/>
              <a:gd name="connsiteY2" fmla="*/ 2987929 h 2987929"/>
              <a:gd name="connsiteX3" fmla="*/ 0 w 2663927"/>
              <a:gd name="connsiteY3" fmla="*/ 1584534 h 2987929"/>
              <a:gd name="connsiteX0" fmla="*/ 0 w 2649471"/>
              <a:gd name="connsiteY0" fmla="*/ 1538167 h 2987929"/>
              <a:gd name="connsiteX1" fmla="*/ 828708 w 2649471"/>
              <a:gd name="connsiteY1" fmla="*/ 0 h 2987929"/>
              <a:gd name="connsiteX2" fmla="*/ 2649471 w 2649471"/>
              <a:gd name="connsiteY2" fmla="*/ 2987929 h 2987929"/>
              <a:gd name="connsiteX3" fmla="*/ 0 w 2649471"/>
              <a:gd name="connsiteY3" fmla="*/ 1538167 h 2987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9471" h="2987929">
                <a:moveTo>
                  <a:pt x="0" y="1538167"/>
                </a:moveTo>
                <a:lnTo>
                  <a:pt x="828708" y="0"/>
                </a:lnTo>
                <a:lnTo>
                  <a:pt x="2649471" y="2987929"/>
                </a:lnTo>
                <a:lnTo>
                  <a:pt x="0" y="1538167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pic>
        <p:nvPicPr>
          <p:cNvPr id="5" name="Grafik 4">
            <a:hlinkClick r:id="" action="ppaction://noaction"/>
            <a:extLst>
              <a:ext uri="{FF2B5EF4-FFF2-40B4-BE49-F238E27FC236}">
                <a16:creationId xmlns:a16="http://schemas.microsoft.com/office/drawing/2014/main" id="{B31757C9-EC4F-2F94-F7F2-417DF453583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4243" y="107974"/>
            <a:ext cx="760427" cy="760427"/>
          </a:xfrm>
          <a:prstGeom prst="rect">
            <a:avLst/>
          </a:prstGeom>
        </p:spPr>
      </p:pic>
      <p:sp>
        <p:nvSpPr>
          <p:cNvPr id="6" name="Picture Placeholder 16">
            <a:extLst>
              <a:ext uri="{FF2B5EF4-FFF2-40B4-BE49-F238E27FC236}">
                <a16:creationId xmlns:a16="http://schemas.microsoft.com/office/drawing/2014/main" id="{DF052D45-52B5-6CDC-D95C-2DD836622A0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 rot="16200000">
            <a:off x="2660904" y="-2673096"/>
            <a:ext cx="6858000" cy="12204192"/>
          </a:xfrm>
          <a:custGeom>
            <a:avLst/>
            <a:gdLst>
              <a:gd name="connsiteX0" fmla="*/ 0 w 6858000"/>
              <a:gd name="connsiteY0" fmla="*/ 0 h 12192000"/>
              <a:gd name="connsiteX1" fmla="*/ 6250313 w 6858000"/>
              <a:gd name="connsiteY1" fmla="*/ 0 h 12192000"/>
              <a:gd name="connsiteX2" fmla="*/ 6858000 w 6858000"/>
              <a:gd name="connsiteY2" fmla="*/ 607687 h 12192000"/>
              <a:gd name="connsiteX3" fmla="*/ 6858000 w 6858000"/>
              <a:gd name="connsiteY3" fmla="*/ 12192000 h 12192000"/>
              <a:gd name="connsiteX4" fmla="*/ 6858000 w 6858000"/>
              <a:gd name="connsiteY4" fmla="*/ 12192000 h 12192000"/>
              <a:gd name="connsiteX5" fmla="*/ 607687 w 6858000"/>
              <a:gd name="connsiteY5" fmla="*/ 12192000 h 12192000"/>
              <a:gd name="connsiteX6" fmla="*/ 0 w 6858000"/>
              <a:gd name="connsiteY6" fmla="*/ 11584313 h 12192000"/>
              <a:gd name="connsiteX7" fmla="*/ 0 w 6858000"/>
              <a:gd name="connsiteY7" fmla="*/ 0 h 12192000"/>
              <a:gd name="connsiteX0" fmla="*/ 0 w 6858000"/>
              <a:gd name="connsiteY0" fmla="*/ 12192 h 12204192"/>
              <a:gd name="connsiteX1" fmla="*/ 5153033 w 6858000"/>
              <a:gd name="connsiteY1" fmla="*/ 0 h 12204192"/>
              <a:gd name="connsiteX2" fmla="*/ 6858000 w 6858000"/>
              <a:gd name="connsiteY2" fmla="*/ 619879 h 12204192"/>
              <a:gd name="connsiteX3" fmla="*/ 6858000 w 6858000"/>
              <a:gd name="connsiteY3" fmla="*/ 12204192 h 12204192"/>
              <a:gd name="connsiteX4" fmla="*/ 6858000 w 6858000"/>
              <a:gd name="connsiteY4" fmla="*/ 12204192 h 12204192"/>
              <a:gd name="connsiteX5" fmla="*/ 607687 w 6858000"/>
              <a:gd name="connsiteY5" fmla="*/ 12204192 h 12204192"/>
              <a:gd name="connsiteX6" fmla="*/ 0 w 6858000"/>
              <a:gd name="connsiteY6" fmla="*/ 11596505 h 12204192"/>
              <a:gd name="connsiteX7" fmla="*/ 0 w 6858000"/>
              <a:gd name="connsiteY7" fmla="*/ 12192 h 12204192"/>
              <a:gd name="connsiteX0" fmla="*/ 0 w 6858000"/>
              <a:gd name="connsiteY0" fmla="*/ 12192 h 12204192"/>
              <a:gd name="connsiteX1" fmla="*/ 5153033 w 6858000"/>
              <a:gd name="connsiteY1" fmla="*/ 0 h 12204192"/>
              <a:gd name="connsiteX2" fmla="*/ 6858000 w 6858000"/>
              <a:gd name="connsiteY2" fmla="*/ 985639 h 12204192"/>
              <a:gd name="connsiteX3" fmla="*/ 6858000 w 6858000"/>
              <a:gd name="connsiteY3" fmla="*/ 12204192 h 12204192"/>
              <a:gd name="connsiteX4" fmla="*/ 6858000 w 6858000"/>
              <a:gd name="connsiteY4" fmla="*/ 12204192 h 12204192"/>
              <a:gd name="connsiteX5" fmla="*/ 607687 w 6858000"/>
              <a:gd name="connsiteY5" fmla="*/ 12204192 h 12204192"/>
              <a:gd name="connsiteX6" fmla="*/ 0 w 6858000"/>
              <a:gd name="connsiteY6" fmla="*/ 11596505 h 12204192"/>
              <a:gd name="connsiteX7" fmla="*/ 0 w 6858000"/>
              <a:gd name="connsiteY7" fmla="*/ 12192 h 12204192"/>
              <a:gd name="connsiteX0" fmla="*/ 0 w 6858000"/>
              <a:gd name="connsiteY0" fmla="*/ 12192 h 12204192"/>
              <a:gd name="connsiteX1" fmla="*/ 5153033 w 6858000"/>
              <a:gd name="connsiteY1" fmla="*/ 0 h 12204192"/>
              <a:gd name="connsiteX2" fmla="*/ 6858000 w 6858000"/>
              <a:gd name="connsiteY2" fmla="*/ 985639 h 12204192"/>
              <a:gd name="connsiteX3" fmla="*/ 6858000 w 6858000"/>
              <a:gd name="connsiteY3" fmla="*/ 12204192 h 12204192"/>
              <a:gd name="connsiteX4" fmla="*/ 6858000 w 6858000"/>
              <a:gd name="connsiteY4" fmla="*/ 12204192 h 12204192"/>
              <a:gd name="connsiteX5" fmla="*/ 2985127 w 6858000"/>
              <a:gd name="connsiteY5" fmla="*/ 12204192 h 12204192"/>
              <a:gd name="connsiteX6" fmla="*/ 0 w 6858000"/>
              <a:gd name="connsiteY6" fmla="*/ 11596505 h 12204192"/>
              <a:gd name="connsiteX7" fmla="*/ 0 w 6858000"/>
              <a:gd name="connsiteY7" fmla="*/ 12192 h 12204192"/>
              <a:gd name="connsiteX0" fmla="*/ 0 w 6858000"/>
              <a:gd name="connsiteY0" fmla="*/ 12192 h 12204192"/>
              <a:gd name="connsiteX1" fmla="*/ 5153033 w 6858000"/>
              <a:gd name="connsiteY1" fmla="*/ 0 h 12204192"/>
              <a:gd name="connsiteX2" fmla="*/ 6858000 w 6858000"/>
              <a:gd name="connsiteY2" fmla="*/ 985639 h 12204192"/>
              <a:gd name="connsiteX3" fmla="*/ 6858000 w 6858000"/>
              <a:gd name="connsiteY3" fmla="*/ 12204192 h 12204192"/>
              <a:gd name="connsiteX4" fmla="*/ 6858000 w 6858000"/>
              <a:gd name="connsiteY4" fmla="*/ 12204192 h 12204192"/>
              <a:gd name="connsiteX5" fmla="*/ 2985127 w 6858000"/>
              <a:gd name="connsiteY5" fmla="*/ 12204192 h 12204192"/>
              <a:gd name="connsiteX6" fmla="*/ 0 w 6858000"/>
              <a:gd name="connsiteY6" fmla="*/ 10474841 h 12204192"/>
              <a:gd name="connsiteX7" fmla="*/ 0 w 6858000"/>
              <a:gd name="connsiteY7" fmla="*/ 12192 h 12204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8000" h="12204192">
                <a:moveTo>
                  <a:pt x="0" y="12192"/>
                </a:moveTo>
                <a:lnTo>
                  <a:pt x="5153033" y="0"/>
                </a:lnTo>
                <a:lnTo>
                  <a:pt x="6858000" y="985639"/>
                </a:lnTo>
                <a:lnTo>
                  <a:pt x="6858000" y="12204192"/>
                </a:lnTo>
                <a:lnTo>
                  <a:pt x="6858000" y="12204192"/>
                </a:lnTo>
                <a:lnTo>
                  <a:pt x="2985127" y="12204192"/>
                </a:lnTo>
                <a:lnTo>
                  <a:pt x="0" y="10474841"/>
                </a:lnTo>
                <a:lnTo>
                  <a:pt x="0" y="12192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</p:spPr>
        <p:txBody>
          <a:bodyPr wrap="square" bIns="1584000" anchor="b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43535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folie // Bilplatzhalter_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2CD7A7C-6BED-4042-88C8-8ACEEFC464C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 rot="16200000">
            <a:off x="2660904" y="-2673096"/>
            <a:ext cx="6858000" cy="12204192"/>
          </a:xfrm>
          <a:custGeom>
            <a:avLst/>
            <a:gdLst>
              <a:gd name="connsiteX0" fmla="*/ 0 w 6858000"/>
              <a:gd name="connsiteY0" fmla="*/ 0 h 12192000"/>
              <a:gd name="connsiteX1" fmla="*/ 6250313 w 6858000"/>
              <a:gd name="connsiteY1" fmla="*/ 0 h 12192000"/>
              <a:gd name="connsiteX2" fmla="*/ 6858000 w 6858000"/>
              <a:gd name="connsiteY2" fmla="*/ 607687 h 12192000"/>
              <a:gd name="connsiteX3" fmla="*/ 6858000 w 6858000"/>
              <a:gd name="connsiteY3" fmla="*/ 12192000 h 12192000"/>
              <a:gd name="connsiteX4" fmla="*/ 6858000 w 6858000"/>
              <a:gd name="connsiteY4" fmla="*/ 12192000 h 12192000"/>
              <a:gd name="connsiteX5" fmla="*/ 607687 w 6858000"/>
              <a:gd name="connsiteY5" fmla="*/ 12192000 h 12192000"/>
              <a:gd name="connsiteX6" fmla="*/ 0 w 6858000"/>
              <a:gd name="connsiteY6" fmla="*/ 11584313 h 12192000"/>
              <a:gd name="connsiteX7" fmla="*/ 0 w 6858000"/>
              <a:gd name="connsiteY7" fmla="*/ 0 h 12192000"/>
              <a:gd name="connsiteX0" fmla="*/ 0 w 6858000"/>
              <a:gd name="connsiteY0" fmla="*/ 12192 h 12204192"/>
              <a:gd name="connsiteX1" fmla="*/ 5153033 w 6858000"/>
              <a:gd name="connsiteY1" fmla="*/ 0 h 12204192"/>
              <a:gd name="connsiteX2" fmla="*/ 6858000 w 6858000"/>
              <a:gd name="connsiteY2" fmla="*/ 619879 h 12204192"/>
              <a:gd name="connsiteX3" fmla="*/ 6858000 w 6858000"/>
              <a:gd name="connsiteY3" fmla="*/ 12204192 h 12204192"/>
              <a:gd name="connsiteX4" fmla="*/ 6858000 w 6858000"/>
              <a:gd name="connsiteY4" fmla="*/ 12204192 h 12204192"/>
              <a:gd name="connsiteX5" fmla="*/ 607687 w 6858000"/>
              <a:gd name="connsiteY5" fmla="*/ 12204192 h 12204192"/>
              <a:gd name="connsiteX6" fmla="*/ 0 w 6858000"/>
              <a:gd name="connsiteY6" fmla="*/ 11596505 h 12204192"/>
              <a:gd name="connsiteX7" fmla="*/ 0 w 6858000"/>
              <a:gd name="connsiteY7" fmla="*/ 12192 h 12204192"/>
              <a:gd name="connsiteX0" fmla="*/ 0 w 6858000"/>
              <a:gd name="connsiteY0" fmla="*/ 12192 h 12204192"/>
              <a:gd name="connsiteX1" fmla="*/ 5153033 w 6858000"/>
              <a:gd name="connsiteY1" fmla="*/ 0 h 12204192"/>
              <a:gd name="connsiteX2" fmla="*/ 6858000 w 6858000"/>
              <a:gd name="connsiteY2" fmla="*/ 985639 h 12204192"/>
              <a:gd name="connsiteX3" fmla="*/ 6858000 w 6858000"/>
              <a:gd name="connsiteY3" fmla="*/ 12204192 h 12204192"/>
              <a:gd name="connsiteX4" fmla="*/ 6858000 w 6858000"/>
              <a:gd name="connsiteY4" fmla="*/ 12204192 h 12204192"/>
              <a:gd name="connsiteX5" fmla="*/ 607687 w 6858000"/>
              <a:gd name="connsiteY5" fmla="*/ 12204192 h 12204192"/>
              <a:gd name="connsiteX6" fmla="*/ 0 w 6858000"/>
              <a:gd name="connsiteY6" fmla="*/ 11596505 h 12204192"/>
              <a:gd name="connsiteX7" fmla="*/ 0 w 6858000"/>
              <a:gd name="connsiteY7" fmla="*/ 12192 h 12204192"/>
              <a:gd name="connsiteX0" fmla="*/ 0 w 6858000"/>
              <a:gd name="connsiteY0" fmla="*/ 12192 h 12204192"/>
              <a:gd name="connsiteX1" fmla="*/ 5153033 w 6858000"/>
              <a:gd name="connsiteY1" fmla="*/ 0 h 12204192"/>
              <a:gd name="connsiteX2" fmla="*/ 6858000 w 6858000"/>
              <a:gd name="connsiteY2" fmla="*/ 985639 h 12204192"/>
              <a:gd name="connsiteX3" fmla="*/ 6858000 w 6858000"/>
              <a:gd name="connsiteY3" fmla="*/ 12204192 h 12204192"/>
              <a:gd name="connsiteX4" fmla="*/ 6858000 w 6858000"/>
              <a:gd name="connsiteY4" fmla="*/ 12204192 h 12204192"/>
              <a:gd name="connsiteX5" fmla="*/ 2985127 w 6858000"/>
              <a:gd name="connsiteY5" fmla="*/ 12204192 h 12204192"/>
              <a:gd name="connsiteX6" fmla="*/ 0 w 6858000"/>
              <a:gd name="connsiteY6" fmla="*/ 11596505 h 12204192"/>
              <a:gd name="connsiteX7" fmla="*/ 0 w 6858000"/>
              <a:gd name="connsiteY7" fmla="*/ 12192 h 12204192"/>
              <a:gd name="connsiteX0" fmla="*/ 0 w 6858000"/>
              <a:gd name="connsiteY0" fmla="*/ 12192 h 12204192"/>
              <a:gd name="connsiteX1" fmla="*/ 5153033 w 6858000"/>
              <a:gd name="connsiteY1" fmla="*/ 0 h 12204192"/>
              <a:gd name="connsiteX2" fmla="*/ 6858000 w 6858000"/>
              <a:gd name="connsiteY2" fmla="*/ 985639 h 12204192"/>
              <a:gd name="connsiteX3" fmla="*/ 6858000 w 6858000"/>
              <a:gd name="connsiteY3" fmla="*/ 12204192 h 12204192"/>
              <a:gd name="connsiteX4" fmla="*/ 6858000 w 6858000"/>
              <a:gd name="connsiteY4" fmla="*/ 12204192 h 12204192"/>
              <a:gd name="connsiteX5" fmla="*/ 2985127 w 6858000"/>
              <a:gd name="connsiteY5" fmla="*/ 12204192 h 12204192"/>
              <a:gd name="connsiteX6" fmla="*/ 0 w 6858000"/>
              <a:gd name="connsiteY6" fmla="*/ 10474841 h 12204192"/>
              <a:gd name="connsiteX7" fmla="*/ 0 w 6858000"/>
              <a:gd name="connsiteY7" fmla="*/ 12192 h 12204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8000" h="12204192">
                <a:moveTo>
                  <a:pt x="0" y="12192"/>
                </a:moveTo>
                <a:lnTo>
                  <a:pt x="5153033" y="0"/>
                </a:lnTo>
                <a:lnTo>
                  <a:pt x="6858000" y="985639"/>
                </a:lnTo>
                <a:lnTo>
                  <a:pt x="6858000" y="12204192"/>
                </a:lnTo>
                <a:lnTo>
                  <a:pt x="6858000" y="12204192"/>
                </a:lnTo>
                <a:lnTo>
                  <a:pt x="2985127" y="12204192"/>
                </a:lnTo>
                <a:lnTo>
                  <a:pt x="0" y="10474841"/>
                </a:lnTo>
                <a:lnTo>
                  <a:pt x="0" y="12192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bIns="1584000" anchor="b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098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662DB07-81B8-4BDA-8345-7D0D9D3C5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hlinkClick r:id="" action="ppaction://noaction"/>
            <a:extLst>
              <a:ext uri="{FF2B5EF4-FFF2-40B4-BE49-F238E27FC236}">
                <a16:creationId xmlns:a16="http://schemas.microsoft.com/office/drawing/2014/main" id="{B31757C9-EC4F-2F94-F7F2-417DF453583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4243" y="107974"/>
            <a:ext cx="760427" cy="760427"/>
          </a:xfrm>
          <a:prstGeom prst="rect">
            <a:avLst/>
          </a:prstGeom>
        </p:spPr>
      </p:pic>
      <p:sp>
        <p:nvSpPr>
          <p:cNvPr id="2" name="Gleichschenkliges Dreieck 2">
            <a:extLst>
              <a:ext uri="{FF2B5EF4-FFF2-40B4-BE49-F238E27FC236}">
                <a16:creationId xmlns:a16="http://schemas.microsoft.com/office/drawing/2014/main" id="{999C1BE7-AEF1-7D72-859F-A3E92A7665B5}"/>
              </a:ext>
            </a:extLst>
          </p:cNvPr>
          <p:cNvSpPr/>
          <p:nvPr userDrawn="1"/>
        </p:nvSpPr>
        <p:spPr>
          <a:xfrm rot="10800000">
            <a:off x="-16591" y="-4536"/>
            <a:ext cx="995664" cy="1723971"/>
          </a:xfrm>
          <a:custGeom>
            <a:avLst/>
            <a:gdLst>
              <a:gd name="connsiteX0" fmla="*/ 0 w 1977193"/>
              <a:gd name="connsiteY0" fmla="*/ 1719436 h 1719436"/>
              <a:gd name="connsiteX1" fmla="*/ 988597 w 1977193"/>
              <a:gd name="connsiteY1" fmla="*/ 0 h 1719436"/>
              <a:gd name="connsiteX2" fmla="*/ 1977193 w 1977193"/>
              <a:gd name="connsiteY2" fmla="*/ 1719436 h 1719436"/>
              <a:gd name="connsiteX3" fmla="*/ 0 w 1977193"/>
              <a:gd name="connsiteY3" fmla="*/ 1719436 h 1719436"/>
              <a:gd name="connsiteX0" fmla="*/ 0 w 1033764"/>
              <a:gd name="connsiteY0" fmla="*/ 1719436 h 1719436"/>
              <a:gd name="connsiteX1" fmla="*/ 988597 w 1033764"/>
              <a:gd name="connsiteY1" fmla="*/ 0 h 1719436"/>
              <a:gd name="connsiteX2" fmla="*/ 1033764 w 1033764"/>
              <a:gd name="connsiteY2" fmla="*/ 1704921 h 1719436"/>
              <a:gd name="connsiteX3" fmla="*/ 0 w 1033764"/>
              <a:gd name="connsiteY3" fmla="*/ 1719436 h 1719436"/>
              <a:gd name="connsiteX0" fmla="*/ 0 w 1014714"/>
              <a:gd name="connsiteY0" fmla="*/ 1719436 h 1719436"/>
              <a:gd name="connsiteX1" fmla="*/ 988597 w 1014714"/>
              <a:gd name="connsiteY1" fmla="*/ 0 h 1719436"/>
              <a:gd name="connsiteX2" fmla="*/ 1014714 w 1014714"/>
              <a:gd name="connsiteY2" fmla="*/ 1714446 h 1719436"/>
              <a:gd name="connsiteX3" fmla="*/ 0 w 1014714"/>
              <a:gd name="connsiteY3" fmla="*/ 1719436 h 1719436"/>
              <a:gd name="connsiteX0" fmla="*/ 0 w 995664"/>
              <a:gd name="connsiteY0" fmla="*/ 1719436 h 1723971"/>
              <a:gd name="connsiteX1" fmla="*/ 988597 w 995664"/>
              <a:gd name="connsiteY1" fmla="*/ 0 h 1723971"/>
              <a:gd name="connsiteX2" fmla="*/ 995664 w 995664"/>
              <a:gd name="connsiteY2" fmla="*/ 1723971 h 1723971"/>
              <a:gd name="connsiteX3" fmla="*/ 0 w 995664"/>
              <a:gd name="connsiteY3" fmla="*/ 1719436 h 1723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5664" h="1723971">
                <a:moveTo>
                  <a:pt x="0" y="1719436"/>
                </a:moveTo>
                <a:lnTo>
                  <a:pt x="988597" y="0"/>
                </a:lnTo>
                <a:cubicBezTo>
                  <a:pt x="990953" y="574657"/>
                  <a:pt x="993308" y="1149314"/>
                  <a:pt x="995664" y="1723971"/>
                </a:cubicBezTo>
                <a:lnTo>
                  <a:pt x="0" y="1719436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3" name="Gleichschenkliges Dreieck 3">
            <a:extLst>
              <a:ext uri="{FF2B5EF4-FFF2-40B4-BE49-F238E27FC236}">
                <a16:creationId xmlns:a16="http://schemas.microsoft.com/office/drawing/2014/main" id="{806D6EBA-7244-FFF6-E77C-2DFFAC33891E}"/>
              </a:ext>
            </a:extLst>
          </p:cNvPr>
          <p:cNvSpPr/>
          <p:nvPr userDrawn="1"/>
        </p:nvSpPr>
        <p:spPr>
          <a:xfrm rot="14482413">
            <a:off x="10194499" y="4219975"/>
            <a:ext cx="2649471" cy="2987929"/>
          </a:xfrm>
          <a:custGeom>
            <a:avLst/>
            <a:gdLst>
              <a:gd name="connsiteX0" fmla="*/ 0 w 3641527"/>
              <a:gd name="connsiteY0" fmla="*/ 2987929 h 2987929"/>
              <a:gd name="connsiteX1" fmla="*/ 1820764 w 3641527"/>
              <a:gd name="connsiteY1" fmla="*/ 0 h 2987929"/>
              <a:gd name="connsiteX2" fmla="*/ 3641527 w 3641527"/>
              <a:gd name="connsiteY2" fmla="*/ 2987929 h 2987929"/>
              <a:gd name="connsiteX3" fmla="*/ 0 w 3641527"/>
              <a:gd name="connsiteY3" fmla="*/ 2987929 h 2987929"/>
              <a:gd name="connsiteX0" fmla="*/ 0 w 2663927"/>
              <a:gd name="connsiteY0" fmla="*/ 1584534 h 2987929"/>
              <a:gd name="connsiteX1" fmla="*/ 843164 w 2663927"/>
              <a:gd name="connsiteY1" fmla="*/ 0 h 2987929"/>
              <a:gd name="connsiteX2" fmla="*/ 2663927 w 2663927"/>
              <a:gd name="connsiteY2" fmla="*/ 2987929 h 2987929"/>
              <a:gd name="connsiteX3" fmla="*/ 0 w 2663927"/>
              <a:gd name="connsiteY3" fmla="*/ 1584534 h 2987929"/>
              <a:gd name="connsiteX0" fmla="*/ 0 w 2649471"/>
              <a:gd name="connsiteY0" fmla="*/ 1538167 h 2987929"/>
              <a:gd name="connsiteX1" fmla="*/ 828708 w 2649471"/>
              <a:gd name="connsiteY1" fmla="*/ 0 h 2987929"/>
              <a:gd name="connsiteX2" fmla="*/ 2649471 w 2649471"/>
              <a:gd name="connsiteY2" fmla="*/ 2987929 h 2987929"/>
              <a:gd name="connsiteX3" fmla="*/ 0 w 2649471"/>
              <a:gd name="connsiteY3" fmla="*/ 1538167 h 2987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9471" h="2987929">
                <a:moveTo>
                  <a:pt x="0" y="1538167"/>
                </a:moveTo>
                <a:lnTo>
                  <a:pt x="828708" y="0"/>
                </a:lnTo>
                <a:lnTo>
                  <a:pt x="2649471" y="2987929"/>
                </a:lnTo>
                <a:lnTo>
                  <a:pt x="0" y="1538167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</p:spTree>
    <p:extLst>
      <p:ext uri="{BB962C8B-B14F-4D97-AF65-F5344CB8AC3E}">
        <p14:creationId xmlns:p14="http://schemas.microsoft.com/office/powerpoint/2010/main" val="1466519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odfolie // Bilplatzhalter_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588EB6DF-D686-7B24-3C7B-A8142103B5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098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662DB07-81B8-4BDA-8345-7D0D9D3C5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hlinkClick r:id="" action="ppaction://noaction"/>
            <a:extLst>
              <a:ext uri="{FF2B5EF4-FFF2-40B4-BE49-F238E27FC236}">
                <a16:creationId xmlns:a16="http://schemas.microsoft.com/office/drawing/2014/main" id="{B31757C9-EC4F-2F94-F7F2-417DF453583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4243" y="107974"/>
            <a:ext cx="760427" cy="760427"/>
          </a:xfrm>
          <a:prstGeom prst="rect">
            <a:avLst/>
          </a:prstGeom>
        </p:spPr>
      </p:pic>
      <p:sp>
        <p:nvSpPr>
          <p:cNvPr id="2" name="Gleichschenkliges Dreieck 2">
            <a:extLst>
              <a:ext uri="{FF2B5EF4-FFF2-40B4-BE49-F238E27FC236}">
                <a16:creationId xmlns:a16="http://schemas.microsoft.com/office/drawing/2014/main" id="{999C1BE7-AEF1-7D72-859F-A3E92A7665B5}"/>
              </a:ext>
            </a:extLst>
          </p:cNvPr>
          <p:cNvSpPr/>
          <p:nvPr userDrawn="1"/>
        </p:nvSpPr>
        <p:spPr>
          <a:xfrm rot="10800000">
            <a:off x="-16591" y="-4536"/>
            <a:ext cx="995664" cy="1723971"/>
          </a:xfrm>
          <a:custGeom>
            <a:avLst/>
            <a:gdLst>
              <a:gd name="connsiteX0" fmla="*/ 0 w 1977193"/>
              <a:gd name="connsiteY0" fmla="*/ 1719436 h 1719436"/>
              <a:gd name="connsiteX1" fmla="*/ 988597 w 1977193"/>
              <a:gd name="connsiteY1" fmla="*/ 0 h 1719436"/>
              <a:gd name="connsiteX2" fmla="*/ 1977193 w 1977193"/>
              <a:gd name="connsiteY2" fmla="*/ 1719436 h 1719436"/>
              <a:gd name="connsiteX3" fmla="*/ 0 w 1977193"/>
              <a:gd name="connsiteY3" fmla="*/ 1719436 h 1719436"/>
              <a:gd name="connsiteX0" fmla="*/ 0 w 1033764"/>
              <a:gd name="connsiteY0" fmla="*/ 1719436 h 1719436"/>
              <a:gd name="connsiteX1" fmla="*/ 988597 w 1033764"/>
              <a:gd name="connsiteY1" fmla="*/ 0 h 1719436"/>
              <a:gd name="connsiteX2" fmla="*/ 1033764 w 1033764"/>
              <a:gd name="connsiteY2" fmla="*/ 1704921 h 1719436"/>
              <a:gd name="connsiteX3" fmla="*/ 0 w 1033764"/>
              <a:gd name="connsiteY3" fmla="*/ 1719436 h 1719436"/>
              <a:gd name="connsiteX0" fmla="*/ 0 w 1014714"/>
              <a:gd name="connsiteY0" fmla="*/ 1719436 h 1719436"/>
              <a:gd name="connsiteX1" fmla="*/ 988597 w 1014714"/>
              <a:gd name="connsiteY1" fmla="*/ 0 h 1719436"/>
              <a:gd name="connsiteX2" fmla="*/ 1014714 w 1014714"/>
              <a:gd name="connsiteY2" fmla="*/ 1714446 h 1719436"/>
              <a:gd name="connsiteX3" fmla="*/ 0 w 1014714"/>
              <a:gd name="connsiteY3" fmla="*/ 1719436 h 1719436"/>
              <a:gd name="connsiteX0" fmla="*/ 0 w 995664"/>
              <a:gd name="connsiteY0" fmla="*/ 1719436 h 1723971"/>
              <a:gd name="connsiteX1" fmla="*/ 988597 w 995664"/>
              <a:gd name="connsiteY1" fmla="*/ 0 h 1723971"/>
              <a:gd name="connsiteX2" fmla="*/ 995664 w 995664"/>
              <a:gd name="connsiteY2" fmla="*/ 1723971 h 1723971"/>
              <a:gd name="connsiteX3" fmla="*/ 0 w 995664"/>
              <a:gd name="connsiteY3" fmla="*/ 1719436 h 1723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5664" h="1723971">
                <a:moveTo>
                  <a:pt x="0" y="1719436"/>
                </a:moveTo>
                <a:lnTo>
                  <a:pt x="988597" y="0"/>
                </a:lnTo>
                <a:cubicBezTo>
                  <a:pt x="990953" y="574657"/>
                  <a:pt x="993308" y="1149314"/>
                  <a:pt x="995664" y="1723971"/>
                </a:cubicBezTo>
                <a:lnTo>
                  <a:pt x="0" y="1719436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3" name="Gleichschenkliges Dreieck 3">
            <a:extLst>
              <a:ext uri="{FF2B5EF4-FFF2-40B4-BE49-F238E27FC236}">
                <a16:creationId xmlns:a16="http://schemas.microsoft.com/office/drawing/2014/main" id="{806D6EBA-7244-FFF6-E77C-2DFFAC33891E}"/>
              </a:ext>
            </a:extLst>
          </p:cNvPr>
          <p:cNvSpPr/>
          <p:nvPr userDrawn="1"/>
        </p:nvSpPr>
        <p:spPr>
          <a:xfrm rot="14482413">
            <a:off x="10194499" y="4219975"/>
            <a:ext cx="2649471" cy="2987929"/>
          </a:xfrm>
          <a:custGeom>
            <a:avLst/>
            <a:gdLst>
              <a:gd name="connsiteX0" fmla="*/ 0 w 3641527"/>
              <a:gd name="connsiteY0" fmla="*/ 2987929 h 2987929"/>
              <a:gd name="connsiteX1" fmla="*/ 1820764 w 3641527"/>
              <a:gd name="connsiteY1" fmla="*/ 0 h 2987929"/>
              <a:gd name="connsiteX2" fmla="*/ 3641527 w 3641527"/>
              <a:gd name="connsiteY2" fmla="*/ 2987929 h 2987929"/>
              <a:gd name="connsiteX3" fmla="*/ 0 w 3641527"/>
              <a:gd name="connsiteY3" fmla="*/ 2987929 h 2987929"/>
              <a:gd name="connsiteX0" fmla="*/ 0 w 2663927"/>
              <a:gd name="connsiteY0" fmla="*/ 1584534 h 2987929"/>
              <a:gd name="connsiteX1" fmla="*/ 843164 w 2663927"/>
              <a:gd name="connsiteY1" fmla="*/ 0 h 2987929"/>
              <a:gd name="connsiteX2" fmla="*/ 2663927 w 2663927"/>
              <a:gd name="connsiteY2" fmla="*/ 2987929 h 2987929"/>
              <a:gd name="connsiteX3" fmla="*/ 0 w 2663927"/>
              <a:gd name="connsiteY3" fmla="*/ 1584534 h 2987929"/>
              <a:gd name="connsiteX0" fmla="*/ 0 w 2649471"/>
              <a:gd name="connsiteY0" fmla="*/ 1538167 h 2987929"/>
              <a:gd name="connsiteX1" fmla="*/ 828708 w 2649471"/>
              <a:gd name="connsiteY1" fmla="*/ 0 h 2987929"/>
              <a:gd name="connsiteX2" fmla="*/ 2649471 w 2649471"/>
              <a:gd name="connsiteY2" fmla="*/ 2987929 h 2987929"/>
              <a:gd name="connsiteX3" fmla="*/ 0 w 2649471"/>
              <a:gd name="connsiteY3" fmla="*/ 1538167 h 2987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9471" h="2987929">
                <a:moveTo>
                  <a:pt x="0" y="1538167"/>
                </a:moveTo>
                <a:lnTo>
                  <a:pt x="828708" y="0"/>
                </a:lnTo>
                <a:lnTo>
                  <a:pt x="2649471" y="2987929"/>
                </a:lnTo>
                <a:lnTo>
                  <a:pt x="0" y="1538167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</p:spTree>
    <p:extLst>
      <p:ext uri="{BB962C8B-B14F-4D97-AF65-F5344CB8AC3E}">
        <p14:creationId xmlns:p14="http://schemas.microsoft.com/office/powerpoint/2010/main" val="3074455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oodfolie // Bilplatzhalter_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588EB6DF-D686-7B24-3C7B-A8142103B5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85532BFA-FE57-11A7-77E9-970596098CEC}"/>
              </a:ext>
            </a:extLst>
          </p:cNvPr>
          <p:cNvSpPr/>
          <p:nvPr userDrawn="1"/>
        </p:nvSpPr>
        <p:spPr>
          <a:xfrm>
            <a:off x="0" y="0"/>
            <a:ext cx="12192000" cy="6413500"/>
          </a:xfrm>
          <a:prstGeom prst="roundRect">
            <a:avLst>
              <a:gd name="adj" fmla="val 8265"/>
            </a:avLst>
          </a:prstGeom>
          <a:solidFill>
            <a:schemeClr val="bg2"/>
          </a:solidFill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098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662DB07-81B8-4BDA-8345-7D0D9D3C5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hlinkClick r:id="" action="ppaction://noaction"/>
            <a:extLst>
              <a:ext uri="{FF2B5EF4-FFF2-40B4-BE49-F238E27FC236}">
                <a16:creationId xmlns:a16="http://schemas.microsoft.com/office/drawing/2014/main" id="{B31757C9-EC4F-2F94-F7F2-417DF453583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8043" y="209574"/>
            <a:ext cx="760427" cy="760427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A5D60A91-A83A-8331-71B9-5E113CFE8F38}"/>
              </a:ext>
            </a:extLst>
          </p:cNvPr>
          <p:cNvSpPr/>
          <p:nvPr userDrawn="1"/>
        </p:nvSpPr>
        <p:spPr>
          <a:xfrm>
            <a:off x="317500" y="254000"/>
            <a:ext cx="11569700" cy="5664382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pic>
        <p:nvPicPr>
          <p:cNvPr id="8" name="Grafik 7">
            <a:hlinkClick r:id="" action="ppaction://noaction"/>
            <a:extLst>
              <a:ext uri="{FF2B5EF4-FFF2-40B4-BE49-F238E27FC236}">
                <a16:creationId xmlns:a16="http://schemas.microsoft.com/office/drawing/2014/main" id="{6D98058F-4C50-F89D-F287-ACEFE30248B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0243" y="323874"/>
            <a:ext cx="760427" cy="760427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4C4F7BA7-F4B4-82B9-79DE-26762D059E11}"/>
              </a:ext>
            </a:extLst>
          </p:cNvPr>
          <p:cNvSpPr/>
          <p:nvPr userDrawn="1"/>
        </p:nvSpPr>
        <p:spPr>
          <a:xfrm>
            <a:off x="5524500" y="6400800"/>
            <a:ext cx="1587500" cy="31750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9D71BD0-D50C-540E-528E-77DCE605F5E9}"/>
              </a:ext>
            </a:extLst>
          </p:cNvPr>
          <p:cNvSpPr/>
          <p:nvPr userDrawn="1"/>
        </p:nvSpPr>
        <p:spPr>
          <a:xfrm>
            <a:off x="4521200" y="6699250"/>
            <a:ext cx="3517900" cy="412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</p:spTree>
    <p:extLst>
      <p:ext uri="{BB962C8B-B14F-4D97-AF65-F5344CB8AC3E}">
        <p14:creationId xmlns:p14="http://schemas.microsoft.com/office/powerpoint/2010/main" val="2239875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oodfolie // Bilplatzhalter_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098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662DB07-81B8-4BDA-8345-7D0D9D3C5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301A8D89-0079-526B-45C9-6CD468D621D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pic>
        <p:nvPicPr>
          <p:cNvPr id="6" name="Grafik 5">
            <a:hlinkClick r:id="" action="ppaction://noaction"/>
            <a:extLst>
              <a:ext uri="{FF2B5EF4-FFF2-40B4-BE49-F238E27FC236}">
                <a16:creationId xmlns:a16="http://schemas.microsoft.com/office/drawing/2014/main" id="{B4D1B259-20A8-BF39-96F7-2E205B0BCEB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4243" y="107974"/>
            <a:ext cx="760427" cy="760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5379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oodfolie // Bilplatzhalter_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588EB6DF-D686-7B24-3C7B-A8142103B5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662DB07-81B8-4BDA-8345-7D0D9D3C5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098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662DB07-81B8-4BDA-8345-7D0D9D3C5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hlinkClick r:id="" action="ppaction://noaction"/>
            <a:extLst>
              <a:ext uri="{FF2B5EF4-FFF2-40B4-BE49-F238E27FC236}">
                <a16:creationId xmlns:a16="http://schemas.microsoft.com/office/drawing/2014/main" id="{B31757C9-EC4F-2F94-F7F2-417DF453583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4243" y="107974"/>
            <a:ext cx="760427" cy="760427"/>
          </a:xfrm>
          <a:prstGeom prst="rect">
            <a:avLst/>
          </a:prstGeom>
        </p:spPr>
      </p:pic>
      <p:sp>
        <p:nvSpPr>
          <p:cNvPr id="2" name="Gleichschenkliges Dreieck 2">
            <a:extLst>
              <a:ext uri="{FF2B5EF4-FFF2-40B4-BE49-F238E27FC236}">
                <a16:creationId xmlns:a16="http://schemas.microsoft.com/office/drawing/2014/main" id="{999C1BE7-AEF1-7D72-859F-A3E92A7665B5}"/>
              </a:ext>
            </a:extLst>
          </p:cNvPr>
          <p:cNvSpPr/>
          <p:nvPr userDrawn="1"/>
        </p:nvSpPr>
        <p:spPr>
          <a:xfrm rot="10800000">
            <a:off x="-16591" y="-4536"/>
            <a:ext cx="995664" cy="1723971"/>
          </a:xfrm>
          <a:custGeom>
            <a:avLst/>
            <a:gdLst>
              <a:gd name="connsiteX0" fmla="*/ 0 w 1977193"/>
              <a:gd name="connsiteY0" fmla="*/ 1719436 h 1719436"/>
              <a:gd name="connsiteX1" fmla="*/ 988597 w 1977193"/>
              <a:gd name="connsiteY1" fmla="*/ 0 h 1719436"/>
              <a:gd name="connsiteX2" fmla="*/ 1977193 w 1977193"/>
              <a:gd name="connsiteY2" fmla="*/ 1719436 h 1719436"/>
              <a:gd name="connsiteX3" fmla="*/ 0 w 1977193"/>
              <a:gd name="connsiteY3" fmla="*/ 1719436 h 1719436"/>
              <a:gd name="connsiteX0" fmla="*/ 0 w 1033764"/>
              <a:gd name="connsiteY0" fmla="*/ 1719436 h 1719436"/>
              <a:gd name="connsiteX1" fmla="*/ 988597 w 1033764"/>
              <a:gd name="connsiteY1" fmla="*/ 0 h 1719436"/>
              <a:gd name="connsiteX2" fmla="*/ 1033764 w 1033764"/>
              <a:gd name="connsiteY2" fmla="*/ 1704921 h 1719436"/>
              <a:gd name="connsiteX3" fmla="*/ 0 w 1033764"/>
              <a:gd name="connsiteY3" fmla="*/ 1719436 h 1719436"/>
              <a:gd name="connsiteX0" fmla="*/ 0 w 1014714"/>
              <a:gd name="connsiteY0" fmla="*/ 1719436 h 1719436"/>
              <a:gd name="connsiteX1" fmla="*/ 988597 w 1014714"/>
              <a:gd name="connsiteY1" fmla="*/ 0 h 1719436"/>
              <a:gd name="connsiteX2" fmla="*/ 1014714 w 1014714"/>
              <a:gd name="connsiteY2" fmla="*/ 1714446 h 1719436"/>
              <a:gd name="connsiteX3" fmla="*/ 0 w 1014714"/>
              <a:gd name="connsiteY3" fmla="*/ 1719436 h 1719436"/>
              <a:gd name="connsiteX0" fmla="*/ 0 w 995664"/>
              <a:gd name="connsiteY0" fmla="*/ 1719436 h 1723971"/>
              <a:gd name="connsiteX1" fmla="*/ 988597 w 995664"/>
              <a:gd name="connsiteY1" fmla="*/ 0 h 1723971"/>
              <a:gd name="connsiteX2" fmla="*/ 995664 w 995664"/>
              <a:gd name="connsiteY2" fmla="*/ 1723971 h 1723971"/>
              <a:gd name="connsiteX3" fmla="*/ 0 w 995664"/>
              <a:gd name="connsiteY3" fmla="*/ 1719436 h 1723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5664" h="1723971">
                <a:moveTo>
                  <a:pt x="0" y="1719436"/>
                </a:moveTo>
                <a:lnTo>
                  <a:pt x="988597" y="0"/>
                </a:lnTo>
                <a:cubicBezTo>
                  <a:pt x="990953" y="574657"/>
                  <a:pt x="993308" y="1149314"/>
                  <a:pt x="995664" y="1723971"/>
                </a:cubicBezTo>
                <a:lnTo>
                  <a:pt x="0" y="1719436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3" name="Gleichschenkliges Dreieck 3">
            <a:extLst>
              <a:ext uri="{FF2B5EF4-FFF2-40B4-BE49-F238E27FC236}">
                <a16:creationId xmlns:a16="http://schemas.microsoft.com/office/drawing/2014/main" id="{806D6EBA-7244-FFF6-E77C-2DFFAC33891E}"/>
              </a:ext>
            </a:extLst>
          </p:cNvPr>
          <p:cNvSpPr/>
          <p:nvPr userDrawn="1"/>
        </p:nvSpPr>
        <p:spPr>
          <a:xfrm rot="14482413">
            <a:off x="10194499" y="4219975"/>
            <a:ext cx="2649471" cy="2987929"/>
          </a:xfrm>
          <a:custGeom>
            <a:avLst/>
            <a:gdLst>
              <a:gd name="connsiteX0" fmla="*/ 0 w 3641527"/>
              <a:gd name="connsiteY0" fmla="*/ 2987929 h 2987929"/>
              <a:gd name="connsiteX1" fmla="*/ 1820764 w 3641527"/>
              <a:gd name="connsiteY1" fmla="*/ 0 h 2987929"/>
              <a:gd name="connsiteX2" fmla="*/ 3641527 w 3641527"/>
              <a:gd name="connsiteY2" fmla="*/ 2987929 h 2987929"/>
              <a:gd name="connsiteX3" fmla="*/ 0 w 3641527"/>
              <a:gd name="connsiteY3" fmla="*/ 2987929 h 2987929"/>
              <a:gd name="connsiteX0" fmla="*/ 0 w 2663927"/>
              <a:gd name="connsiteY0" fmla="*/ 1584534 h 2987929"/>
              <a:gd name="connsiteX1" fmla="*/ 843164 w 2663927"/>
              <a:gd name="connsiteY1" fmla="*/ 0 h 2987929"/>
              <a:gd name="connsiteX2" fmla="*/ 2663927 w 2663927"/>
              <a:gd name="connsiteY2" fmla="*/ 2987929 h 2987929"/>
              <a:gd name="connsiteX3" fmla="*/ 0 w 2663927"/>
              <a:gd name="connsiteY3" fmla="*/ 1584534 h 2987929"/>
              <a:gd name="connsiteX0" fmla="*/ 0 w 2649471"/>
              <a:gd name="connsiteY0" fmla="*/ 1538167 h 2987929"/>
              <a:gd name="connsiteX1" fmla="*/ 828708 w 2649471"/>
              <a:gd name="connsiteY1" fmla="*/ 0 h 2987929"/>
              <a:gd name="connsiteX2" fmla="*/ 2649471 w 2649471"/>
              <a:gd name="connsiteY2" fmla="*/ 2987929 h 2987929"/>
              <a:gd name="connsiteX3" fmla="*/ 0 w 2649471"/>
              <a:gd name="connsiteY3" fmla="*/ 1538167 h 2987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9471" h="2987929">
                <a:moveTo>
                  <a:pt x="0" y="1538167"/>
                </a:moveTo>
                <a:lnTo>
                  <a:pt x="828708" y="0"/>
                </a:lnTo>
                <a:lnTo>
                  <a:pt x="2649471" y="2987929"/>
                </a:lnTo>
                <a:lnTo>
                  <a:pt x="0" y="1538167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</p:spTree>
    <p:extLst>
      <p:ext uri="{BB962C8B-B14F-4D97-AF65-F5344CB8AC3E}">
        <p14:creationId xmlns:p14="http://schemas.microsoft.com/office/powerpoint/2010/main" val="8853193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lila_BayW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B4990962-E4B2-323D-59C6-79C9B8EA36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LineDraw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018"/>
          <a:stretch/>
        </p:blipFill>
        <p:spPr>
          <a:xfrm flipH="1">
            <a:off x="-9524" y="0"/>
            <a:ext cx="12201523" cy="6858000"/>
          </a:xfrm>
          <a:prstGeom prst="rect">
            <a:avLst/>
          </a:prstGeom>
        </p:spPr>
      </p:pic>
      <p:pic>
        <p:nvPicPr>
          <p:cNvPr id="7" name="Grafik 6">
            <a:hlinkClick r:id="" action="ppaction://noaction"/>
            <a:extLst>
              <a:ext uri="{FF2B5EF4-FFF2-40B4-BE49-F238E27FC236}">
                <a16:creationId xmlns:a16="http://schemas.microsoft.com/office/drawing/2014/main" id="{FA52836A-01E4-5358-EAEC-29C7EF4651C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103" y="105100"/>
            <a:ext cx="1977193" cy="1977193"/>
          </a:xfrm>
          <a:prstGeom prst="rect">
            <a:avLst/>
          </a:prstGeom>
        </p:spPr>
      </p:pic>
      <p:sp>
        <p:nvSpPr>
          <p:cNvPr id="8" name="Gleichschenkliges Dreieck 2">
            <a:extLst>
              <a:ext uri="{FF2B5EF4-FFF2-40B4-BE49-F238E27FC236}">
                <a16:creationId xmlns:a16="http://schemas.microsoft.com/office/drawing/2014/main" id="{B4259E89-5098-184D-D2CB-2B4070204F41}"/>
              </a:ext>
            </a:extLst>
          </p:cNvPr>
          <p:cNvSpPr/>
          <p:nvPr userDrawn="1"/>
        </p:nvSpPr>
        <p:spPr>
          <a:xfrm rot="10800000">
            <a:off x="-16591" y="-4536"/>
            <a:ext cx="995664" cy="1723971"/>
          </a:xfrm>
          <a:custGeom>
            <a:avLst/>
            <a:gdLst>
              <a:gd name="connsiteX0" fmla="*/ 0 w 1977193"/>
              <a:gd name="connsiteY0" fmla="*/ 1719436 h 1719436"/>
              <a:gd name="connsiteX1" fmla="*/ 988597 w 1977193"/>
              <a:gd name="connsiteY1" fmla="*/ 0 h 1719436"/>
              <a:gd name="connsiteX2" fmla="*/ 1977193 w 1977193"/>
              <a:gd name="connsiteY2" fmla="*/ 1719436 h 1719436"/>
              <a:gd name="connsiteX3" fmla="*/ 0 w 1977193"/>
              <a:gd name="connsiteY3" fmla="*/ 1719436 h 1719436"/>
              <a:gd name="connsiteX0" fmla="*/ 0 w 1033764"/>
              <a:gd name="connsiteY0" fmla="*/ 1719436 h 1719436"/>
              <a:gd name="connsiteX1" fmla="*/ 988597 w 1033764"/>
              <a:gd name="connsiteY1" fmla="*/ 0 h 1719436"/>
              <a:gd name="connsiteX2" fmla="*/ 1033764 w 1033764"/>
              <a:gd name="connsiteY2" fmla="*/ 1704921 h 1719436"/>
              <a:gd name="connsiteX3" fmla="*/ 0 w 1033764"/>
              <a:gd name="connsiteY3" fmla="*/ 1719436 h 1719436"/>
              <a:gd name="connsiteX0" fmla="*/ 0 w 1014714"/>
              <a:gd name="connsiteY0" fmla="*/ 1719436 h 1719436"/>
              <a:gd name="connsiteX1" fmla="*/ 988597 w 1014714"/>
              <a:gd name="connsiteY1" fmla="*/ 0 h 1719436"/>
              <a:gd name="connsiteX2" fmla="*/ 1014714 w 1014714"/>
              <a:gd name="connsiteY2" fmla="*/ 1714446 h 1719436"/>
              <a:gd name="connsiteX3" fmla="*/ 0 w 1014714"/>
              <a:gd name="connsiteY3" fmla="*/ 1719436 h 1719436"/>
              <a:gd name="connsiteX0" fmla="*/ 0 w 995664"/>
              <a:gd name="connsiteY0" fmla="*/ 1719436 h 1723971"/>
              <a:gd name="connsiteX1" fmla="*/ 988597 w 995664"/>
              <a:gd name="connsiteY1" fmla="*/ 0 h 1723971"/>
              <a:gd name="connsiteX2" fmla="*/ 995664 w 995664"/>
              <a:gd name="connsiteY2" fmla="*/ 1723971 h 1723971"/>
              <a:gd name="connsiteX3" fmla="*/ 0 w 995664"/>
              <a:gd name="connsiteY3" fmla="*/ 1719436 h 1723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5664" h="1723971">
                <a:moveTo>
                  <a:pt x="0" y="1719436"/>
                </a:moveTo>
                <a:lnTo>
                  <a:pt x="988597" y="0"/>
                </a:lnTo>
                <a:cubicBezTo>
                  <a:pt x="990953" y="574657"/>
                  <a:pt x="993308" y="1149314"/>
                  <a:pt x="995664" y="1723971"/>
                </a:cubicBezTo>
                <a:lnTo>
                  <a:pt x="0" y="1719436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9" name="Gleichschenkliges Dreieck 3">
            <a:extLst>
              <a:ext uri="{FF2B5EF4-FFF2-40B4-BE49-F238E27FC236}">
                <a16:creationId xmlns:a16="http://schemas.microsoft.com/office/drawing/2014/main" id="{FAA10E0B-AE05-3AC2-4F61-400357E5A527}"/>
              </a:ext>
            </a:extLst>
          </p:cNvPr>
          <p:cNvSpPr/>
          <p:nvPr userDrawn="1"/>
        </p:nvSpPr>
        <p:spPr>
          <a:xfrm rot="14482413">
            <a:off x="10194499" y="4219975"/>
            <a:ext cx="2649471" cy="2987929"/>
          </a:xfrm>
          <a:custGeom>
            <a:avLst/>
            <a:gdLst>
              <a:gd name="connsiteX0" fmla="*/ 0 w 3641527"/>
              <a:gd name="connsiteY0" fmla="*/ 2987929 h 2987929"/>
              <a:gd name="connsiteX1" fmla="*/ 1820764 w 3641527"/>
              <a:gd name="connsiteY1" fmla="*/ 0 h 2987929"/>
              <a:gd name="connsiteX2" fmla="*/ 3641527 w 3641527"/>
              <a:gd name="connsiteY2" fmla="*/ 2987929 h 2987929"/>
              <a:gd name="connsiteX3" fmla="*/ 0 w 3641527"/>
              <a:gd name="connsiteY3" fmla="*/ 2987929 h 2987929"/>
              <a:gd name="connsiteX0" fmla="*/ 0 w 2663927"/>
              <a:gd name="connsiteY0" fmla="*/ 1584534 h 2987929"/>
              <a:gd name="connsiteX1" fmla="*/ 843164 w 2663927"/>
              <a:gd name="connsiteY1" fmla="*/ 0 h 2987929"/>
              <a:gd name="connsiteX2" fmla="*/ 2663927 w 2663927"/>
              <a:gd name="connsiteY2" fmla="*/ 2987929 h 2987929"/>
              <a:gd name="connsiteX3" fmla="*/ 0 w 2663927"/>
              <a:gd name="connsiteY3" fmla="*/ 1584534 h 2987929"/>
              <a:gd name="connsiteX0" fmla="*/ 0 w 2649471"/>
              <a:gd name="connsiteY0" fmla="*/ 1538167 h 2987929"/>
              <a:gd name="connsiteX1" fmla="*/ 828708 w 2649471"/>
              <a:gd name="connsiteY1" fmla="*/ 0 h 2987929"/>
              <a:gd name="connsiteX2" fmla="*/ 2649471 w 2649471"/>
              <a:gd name="connsiteY2" fmla="*/ 2987929 h 2987929"/>
              <a:gd name="connsiteX3" fmla="*/ 0 w 2649471"/>
              <a:gd name="connsiteY3" fmla="*/ 1538167 h 2987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9471" h="2987929">
                <a:moveTo>
                  <a:pt x="0" y="1538167"/>
                </a:moveTo>
                <a:lnTo>
                  <a:pt x="828708" y="0"/>
                </a:lnTo>
                <a:lnTo>
                  <a:pt x="2649471" y="2987929"/>
                </a:lnTo>
                <a:lnTo>
                  <a:pt x="0" y="1538167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2" name="Freihandform: Form 23">
            <a:extLst>
              <a:ext uri="{FF2B5EF4-FFF2-40B4-BE49-F238E27FC236}">
                <a16:creationId xmlns:a16="http://schemas.microsoft.com/office/drawing/2014/main" id="{8AAF2EA6-186B-3F7A-6EA7-37057EE9E372}"/>
              </a:ext>
            </a:extLst>
          </p:cNvPr>
          <p:cNvSpPr/>
          <p:nvPr userDrawn="1"/>
        </p:nvSpPr>
        <p:spPr>
          <a:xfrm rot="5400000" flipH="1">
            <a:off x="-1461793" y="-1035560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>
              <a:solidFill>
                <a:schemeClr val="bg1"/>
              </a:solidFill>
              <a:effectLst/>
            </a:endParaRPr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DE9C74A9-73CD-EC96-9BF4-25169F52E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8" y="1052513"/>
            <a:ext cx="4954541" cy="1477328"/>
          </a:xfrm>
        </p:spPr>
        <p:txBody>
          <a:bodyPr vert="horz"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78454EF1-E151-A776-A7E2-8BB82CD70E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37" y="2841373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Verfasser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5AFA4593-1223-C3F7-16FC-EBBB2C99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0037" y="3717137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FDD1486-B18A-CE9C-1852-B9AA590AA8CF}"/>
              </a:ext>
            </a:extLst>
          </p:cNvPr>
          <p:cNvSpPr txBox="1"/>
          <p:nvPr userDrawn="1"/>
        </p:nvSpPr>
        <p:spPr>
          <a:xfrm>
            <a:off x="235041" y="4821313"/>
            <a:ext cx="2392249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ista Gmb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gegründet 199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dirty="0">
                <a:solidFill>
                  <a:schemeClr val="tx1"/>
                </a:solidFill>
                <a:latin typeface="Calibri" panose="020F0502020204030204" pitchFamily="34" charset="0"/>
              </a:rPr>
              <a:t>Sitz in München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dirty="0">
                <a:solidFill>
                  <a:schemeClr val="tx1"/>
                </a:solidFill>
                <a:latin typeface="Calibri" panose="020F0502020204030204" pitchFamily="34" charset="0"/>
              </a:rPr>
              <a:t>seit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2017 BayWa 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ehrheitseigner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24A1A0F-C328-42A8-FBD8-6E14C3009D5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8673" y="5962919"/>
            <a:ext cx="460266" cy="485351"/>
          </a:xfrm>
          <a:prstGeom prst="rect">
            <a:avLst/>
          </a:prstGeom>
        </p:spPr>
      </p:pic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D67D627B-236D-3144-C97B-D498E076B5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0037" y="3227739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7AC809EB-69E9-9D7C-A955-266E99EEB1B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0037" y="4090624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37437573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LILA // Titel 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AE713D4A-FDF8-A998-FD22-C655EA8579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1375" y="1052513"/>
            <a:ext cx="1059952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9936517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LLILA // Titel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AE713D4A-FDF8-A998-FD22-C655EA8579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1375" y="1052513"/>
            <a:ext cx="55752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775DE63E-7FFF-37EE-B128-8FB9108D3E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052513"/>
            <a:ext cx="55451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27265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LLILA // // Titel mit Text und Bild (links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980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6C50B6-EE9C-4EAD-9302-1089F6C937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185" y="1052513"/>
            <a:ext cx="5587428" cy="5292725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382014B-9E10-4003-A8A5-0A7AE084A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657CD0DC-07D7-1C19-8379-6C8664096F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052513"/>
            <a:ext cx="55451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40274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Nur TItel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9092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0" y="0"/>
            <a:ext cx="11028363" cy="9445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/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32214BA4-62B2-36A1-7AA0-5AAE445434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2673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2504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0" y="0"/>
            <a:ext cx="11028363" cy="9445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8C5DB09-5C68-4A51-BB61-6A35A5EA5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D711615D-5A39-C77E-FD1A-4A38150B73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052513"/>
            <a:ext cx="1152048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596639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2 Texte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5">
            <a:extLst>
              <a:ext uri="{FF2B5EF4-FFF2-40B4-BE49-F238E27FC236}">
                <a16:creationId xmlns:a16="http://schemas.microsoft.com/office/drawing/2014/main" id="{D80CC195-B48D-1FA7-F30B-89EFECB80251}"/>
              </a:ext>
            </a:extLst>
          </p:cNvPr>
          <p:cNvSpPr/>
          <p:nvPr userDrawn="1"/>
        </p:nvSpPr>
        <p:spPr>
          <a:xfrm>
            <a:off x="0" y="0"/>
            <a:ext cx="11028363" cy="9445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/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820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C1182D8A-984B-E548-92ED-5A7391C9B6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9183" y="1052513"/>
            <a:ext cx="5587429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AEDB871B-B82A-8E75-D09E-726E836438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052513"/>
            <a:ext cx="55451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86B43051-C04A-4571-C300-D78A89B12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5380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5">
            <a:extLst>
              <a:ext uri="{FF2B5EF4-FFF2-40B4-BE49-F238E27FC236}">
                <a16:creationId xmlns:a16="http://schemas.microsoft.com/office/drawing/2014/main" id="{C5915DE7-5E30-8768-AAFD-52DC3A4A563D}"/>
              </a:ext>
            </a:extLst>
          </p:cNvPr>
          <p:cNvSpPr/>
          <p:nvPr userDrawn="1"/>
        </p:nvSpPr>
        <p:spPr>
          <a:xfrm>
            <a:off x="0" y="0"/>
            <a:ext cx="11028363" cy="9445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/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980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6C50B6-EE9C-4EAD-9302-1089F6C937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185" y="1052513"/>
            <a:ext cx="5587428" cy="5292725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7F1F2F1B-4C80-A20B-503F-0D685F1B01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052513"/>
            <a:ext cx="55451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04863A05-472D-7B9F-07E5-21B509F26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7666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//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0047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0" y="0"/>
            <a:ext cx="11028363" cy="9445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F9595B-11B3-4259-84E9-EA0F02B6A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364453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// Tite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616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0" y="-1"/>
            <a:ext cx="11028363" cy="9445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052513"/>
            <a:ext cx="1152048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3">
            <a:extLst>
              <a:ext uri="{FF2B5EF4-FFF2-40B4-BE49-F238E27FC236}">
                <a16:creationId xmlns:a16="http://schemas.microsoft.com/office/drawing/2014/main" id="{B2C323BD-80B8-8B00-4C67-F893954FF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523643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// Titel Text_Bild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616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0" y="-1"/>
            <a:ext cx="11028363" cy="9445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Picture Placeholder 9">
            <a:extLst>
              <a:ext uri="{FF2B5EF4-FFF2-40B4-BE49-F238E27FC236}">
                <a16:creationId xmlns:a16="http://schemas.microsoft.com/office/drawing/2014/main" id="{A2EA26DF-08BA-5B18-09E9-E2E3AFA102D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172824" y="1052513"/>
            <a:ext cx="1019175" cy="529272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E80A05-34D5-B821-6C64-135B72A4A0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052513"/>
            <a:ext cx="10728325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E43AB07A-A488-40F9-B394-26FF4B96A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497858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B4990962-E4B2-323D-59C6-79C9B8EA36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LineDraw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018"/>
          <a:stretch/>
        </p:blipFill>
        <p:spPr>
          <a:xfrm flipH="1">
            <a:off x="-9523" y="-16925"/>
            <a:ext cx="12201523" cy="6858000"/>
          </a:xfrm>
          <a:prstGeom prst="rect">
            <a:avLst/>
          </a:prstGeom>
        </p:spPr>
      </p:pic>
      <p:pic>
        <p:nvPicPr>
          <p:cNvPr id="7" name="Grafik 6">
            <a:hlinkClick r:id="" action="ppaction://noaction"/>
            <a:extLst>
              <a:ext uri="{FF2B5EF4-FFF2-40B4-BE49-F238E27FC236}">
                <a16:creationId xmlns:a16="http://schemas.microsoft.com/office/drawing/2014/main" id="{FA52836A-01E4-5358-EAEC-29C7EF4651C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103" y="105100"/>
            <a:ext cx="1977193" cy="1977193"/>
          </a:xfrm>
          <a:prstGeom prst="rect">
            <a:avLst/>
          </a:prstGeom>
        </p:spPr>
      </p:pic>
      <p:sp>
        <p:nvSpPr>
          <p:cNvPr id="8" name="Gleichschenkliges Dreieck 2">
            <a:extLst>
              <a:ext uri="{FF2B5EF4-FFF2-40B4-BE49-F238E27FC236}">
                <a16:creationId xmlns:a16="http://schemas.microsoft.com/office/drawing/2014/main" id="{B4259E89-5098-184D-D2CB-2B4070204F41}"/>
              </a:ext>
            </a:extLst>
          </p:cNvPr>
          <p:cNvSpPr/>
          <p:nvPr userDrawn="1"/>
        </p:nvSpPr>
        <p:spPr>
          <a:xfrm rot="10800000">
            <a:off x="-16591" y="-4536"/>
            <a:ext cx="995664" cy="1723971"/>
          </a:xfrm>
          <a:custGeom>
            <a:avLst/>
            <a:gdLst>
              <a:gd name="connsiteX0" fmla="*/ 0 w 1977193"/>
              <a:gd name="connsiteY0" fmla="*/ 1719436 h 1719436"/>
              <a:gd name="connsiteX1" fmla="*/ 988597 w 1977193"/>
              <a:gd name="connsiteY1" fmla="*/ 0 h 1719436"/>
              <a:gd name="connsiteX2" fmla="*/ 1977193 w 1977193"/>
              <a:gd name="connsiteY2" fmla="*/ 1719436 h 1719436"/>
              <a:gd name="connsiteX3" fmla="*/ 0 w 1977193"/>
              <a:gd name="connsiteY3" fmla="*/ 1719436 h 1719436"/>
              <a:gd name="connsiteX0" fmla="*/ 0 w 1033764"/>
              <a:gd name="connsiteY0" fmla="*/ 1719436 h 1719436"/>
              <a:gd name="connsiteX1" fmla="*/ 988597 w 1033764"/>
              <a:gd name="connsiteY1" fmla="*/ 0 h 1719436"/>
              <a:gd name="connsiteX2" fmla="*/ 1033764 w 1033764"/>
              <a:gd name="connsiteY2" fmla="*/ 1704921 h 1719436"/>
              <a:gd name="connsiteX3" fmla="*/ 0 w 1033764"/>
              <a:gd name="connsiteY3" fmla="*/ 1719436 h 1719436"/>
              <a:gd name="connsiteX0" fmla="*/ 0 w 1014714"/>
              <a:gd name="connsiteY0" fmla="*/ 1719436 h 1719436"/>
              <a:gd name="connsiteX1" fmla="*/ 988597 w 1014714"/>
              <a:gd name="connsiteY1" fmla="*/ 0 h 1719436"/>
              <a:gd name="connsiteX2" fmla="*/ 1014714 w 1014714"/>
              <a:gd name="connsiteY2" fmla="*/ 1714446 h 1719436"/>
              <a:gd name="connsiteX3" fmla="*/ 0 w 1014714"/>
              <a:gd name="connsiteY3" fmla="*/ 1719436 h 1719436"/>
              <a:gd name="connsiteX0" fmla="*/ 0 w 995664"/>
              <a:gd name="connsiteY0" fmla="*/ 1719436 h 1723971"/>
              <a:gd name="connsiteX1" fmla="*/ 988597 w 995664"/>
              <a:gd name="connsiteY1" fmla="*/ 0 h 1723971"/>
              <a:gd name="connsiteX2" fmla="*/ 995664 w 995664"/>
              <a:gd name="connsiteY2" fmla="*/ 1723971 h 1723971"/>
              <a:gd name="connsiteX3" fmla="*/ 0 w 995664"/>
              <a:gd name="connsiteY3" fmla="*/ 1719436 h 1723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5664" h="1723971">
                <a:moveTo>
                  <a:pt x="0" y="1719436"/>
                </a:moveTo>
                <a:lnTo>
                  <a:pt x="988597" y="0"/>
                </a:lnTo>
                <a:cubicBezTo>
                  <a:pt x="990953" y="574657"/>
                  <a:pt x="993308" y="1149314"/>
                  <a:pt x="995664" y="1723971"/>
                </a:cubicBezTo>
                <a:lnTo>
                  <a:pt x="0" y="1719436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9" name="Gleichschenkliges Dreieck 3">
            <a:extLst>
              <a:ext uri="{FF2B5EF4-FFF2-40B4-BE49-F238E27FC236}">
                <a16:creationId xmlns:a16="http://schemas.microsoft.com/office/drawing/2014/main" id="{FAA10E0B-AE05-3AC2-4F61-400357E5A527}"/>
              </a:ext>
            </a:extLst>
          </p:cNvPr>
          <p:cNvSpPr/>
          <p:nvPr userDrawn="1"/>
        </p:nvSpPr>
        <p:spPr>
          <a:xfrm rot="14482413">
            <a:off x="10194499" y="4219975"/>
            <a:ext cx="2649471" cy="2987929"/>
          </a:xfrm>
          <a:custGeom>
            <a:avLst/>
            <a:gdLst>
              <a:gd name="connsiteX0" fmla="*/ 0 w 3641527"/>
              <a:gd name="connsiteY0" fmla="*/ 2987929 h 2987929"/>
              <a:gd name="connsiteX1" fmla="*/ 1820764 w 3641527"/>
              <a:gd name="connsiteY1" fmla="*/ 0 h 2987929"/>
              <a:gd name="connsiteX2" fmla="*/ 3641527 w 3641527"/>
              <a:gd name="connsiteY2" fmla="*/ 2987929 h 2987929"/>
              <a:gd name="connsiteX3" fmla="*/ 0 w 3641527"/>
              <a:gd name="connsiteY3" fmla="*/ 2987929 h 2987929"/>
              <a:gd name="connsiteX0" fmla="*/ 0 w 2663927"/>
              <a:gd name="connsiteY0" fmla="*/ 1584534 h 2987929"/>
              <a:gd name="connsiteX1" fmla="*/ 843164 w 2663927"/>
              <a:gd name="connsiteY1" fmla="*/ 0 h 2987929"/>
              <a:gd name="connsiteX2" fmla="*/ 2663927 w 2663927"/>
              <a:gd name="connsiteY2" fmla="*/ 2987929 h 2987929"/>
              <a:gd name="connsiteX3" fmla="*/ 0 w 2663927"/>
              <a:gd name="connsiteY3" fmla="*/ 1584534 h 2987929"/>
              <a:gd name="connsiteX0" fmla="*/ 0 w 2649471"/>
              <a:gd name="connsiteY0" fmla="*/ 1538167 h 2987929"/>
              <a:gd name="connsiteX1" fmla="*/ 828708 w 2649471"/>
              <a:gd name="connsiteY1" fmla="*/ 0 h 2987929"/>
              <a:gd name="connsiteX2" fmla="*/ 2649471 w 2649471"/>
              <a:gd name="connsiteY2" fmla="*/ 2987929 h 2987929"/>
              <a:gd name="connsiteX3" fmla="*/ 0 w 2649471"/>
              <a:gd name="connsiteY3" fmla="*/ 1538167 h 2987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9471" h="2987929">
                <a:moveTo>
                  <a:pt x="0" y="1538167"/>
                </a:moveTo>
                <a:lnTo>
                  <a:pt x="828708" y="0"/>
                </a:lnTo>
                <a:lnTo>
                  <a:pt x="2649471" y="2987929"/>
                </a:lnTo>
                <a:lnTo>
                  <a:pt x="0" y="1538167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2" name="Freihandform: Form 23">
            <a:extLst>
              <a:ext uri="{FF2B5EF4-FFF2-40B4-BE49-F238E27FC236}">
                <a16:creationId xmlns:a16="http://schemas.microsoft.com/office/drawing/2014/main" id="{8AAF2EA6-186B-3F7A-6EA7-37057EE9E372}"/>
              </a:ext>
            </a:extLst>
          </p:cNvPr>
          <p:cNvSpPr/>
          <p:nvPr userDrawn="1"/>
        </p:nvSpPr>
        <p:spPr>
          <a:xfrm rot="5400000" flipH="1">
            <a:off x="-1461793" y="-1035560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accent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DE9C74A9-73CD-EC96-9BF4-25169F52E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8" y="1052513"/>
            <a:ext cx="4954541" cy="1477328"/>
          </a:xfrm>
        </p:spPr>
        <p:txBody>
          <a:bodyPr vert="horz"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78454EF1-E151-A776-A7E2-8BB82CD70E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37" y="2841373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Verfasser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5AFA4593-1223-C3F7-16FC-EBBB2C99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0037" y="3717137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  <a:endParaRPr lang="de-DE" dirty="0"/>
          </a:p>
        </p:txBody>
      </p:sp>
      <p:sp>
        <p:nvSpPr>
          <p:cNvPr id="15" name="Titel 11">
            <a:extLst>
              <a:ext uri="{FF2B5EF4-FFF2-40B4-BE49-F238E27FC236}">
                <a16:creationId xmlns:a16="http://schemas.microsoft.com/office/drawing/2014/main" id="{4EB707F5-7EB7-997F-143B-80B84AA27C37}"/>
              </a:ext>
            </a:extLst>
          </p:cNvPr>
          <p:cNvSpPr txBox="1">
            <a:spLocks/>
          </p:cNvSpPr>
          <p:nvPr userDrawn="1"/>
        </p:nvSpPr>
        <p:spPr>
          <a:xfrm>
            <a:off x="5415590" y="3271234"/>
            <a:ext cx="4449628" cy="867589"/>
          </a:xfrm>
          <a:prstGeom prst="rect">
            <a:avLst/>
          </a:prstGeom>
          <a:noFill/>
        </p:spPr>
        <p:txBody>
          <a:bodyPr vert="horz" wrap="square" lIns="144000" tIns="0" rIns="144000" bIns="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00" cap="none" baseline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sz="2400" dirty="0"/>
              <a:t>Digital Services for Sustainable Farming and Food Security.</a:t>
            </a:r>
            <a:endParaRPr lang="de-DE" sz="2400" dirty="0"/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E10E6132-1A4D-F65D-CBC3-376FA10E6F2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0037" y="3227739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68AC3EE3-1997-F5DD-EADA-2EB4D58082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00037" y="4090624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9" name="Titel 11">
            <a:extLst>
              <a:ext uri="{FF2B5EF4-FFF2-40B4-BE49-F238E27FC236}">
                <a16:creationId xmlns:a16="http://schemas.microsoft.com/office/drawing/2014/main" id="{33DAF839-EBC1-B831-036A-BE1D88F9E6DA}"/>
              </a:ext>
            </a:extLst>
          </p:cNvPr>
          <p:cNvSpPr txBox="1">
            <a:spLocks/>
          </p:cNvSpPr>
          <p:nvPr userDrawn="1"/>
        </p:nvSpPr>
        <p:spPr>
          <a:xfrm>
            <a:off x="5387685" y="2547870"/>
            <a:ext cx="7856911" cy="867589"/>
          </a:xfrm>
          <a:prstGeom prst="rect">
            <a:avLst/>
          </a:prstGeom>
          <a:noFill/>
        </p:spPr>
        <p:txBody>
          <a:bodyPr vert="horz" wrap="square" lIns="144000" tIns="0" rIns="144000" bIns="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00" cap="none" baseline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sz="3200" dirty="0"/>
              <a:t>Vista GmbH </a:t>
            </a:r>
          </a:p>
        </p:txBody>
      </p:sp>
    </p:spTree>
    <p:extLst>
      <p:ext uri="{BB962C8B-B14F-4D97-AF65-F5344CB8AC3E}">
        <p14:creationId xmlns:p14="http://schemas.microsoft.com/office/powerpoint/2010/main" val="31636887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// Titel mit 2 Tex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5">
            <a:extLst>
              <a:ext uri="{FF2B5EF4-FFF2-40B4-BE49-F238E27FC236}">
                <a16:creationId xmlns:a16="http://schemas.microsoft.com/office/drawing/2014/main" id="{D80CC195-B48D-1FA7-F30B-89EFECB80251}"/>
              </a:ext>
            </a:extLst>
          </p:cNvPr>
          <p:cNvSpPr/>
          <p:nvPr userDrawn="1"/>
        </p:nvSpPr>
        <p:spPr>
          <a:xfrm>
            <a:off x="0" y="-1"/>
            <a:ext cx="11096053" cy="9724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/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820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tangle 15">
            <a:extLst>
              <a:ext uri="{FF2B5EF4-FFF2-40B4-BE49-F238E27FC236}">
                <a16:creationId xmlns:a16="http://schemas.microsoft.com/office/drawing/2014/main" id="{F2E8EC38-3800-5B3F-19B0-830700A1547B}"/>
              </a:ext>
            </a:extLst>
          </p:cNvPr>
          <p:cNvSpPr/>
          <p:nvPr userDrawn="1"/>
        </p:nvSpPr>
        <p:spPr>
          <a:xfrm>
            <a:off x="0" y="-1"/>
            <a:ext cx="11028363" cy="9445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F9EE2288-6B2D-F5FD-C2AA-E090F24A2F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9183" y="1052513"/>
            <a:ext cx="5587429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0F848F1B-1622-CE2D-1EF6-99A24CEEAB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052513"/>
            <a:ext cx="55451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Titel 3">
            <a:extLst>
              <a:ext uri="{FF2B5EF4-FFF2-40B4-BE49-F238E27FC236}">
                <a16:creationId xmlns:a16="http://schemas.microsoft.com/office/drawing/2014/main" id="{1295E353-4583-9764-089A-E212A4C6B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64636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// Titel mit Text und Bild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980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6C50B6-EE9C-4EAD-9302-1089F6C937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185" y="1052513"/>
            <a:ext cx="5587428" cy="5292725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2" name="Rectangle 15">
            <a:extLst>
              <a:ext uri="{FF2B5EF4-FFF2-40B4-BE49-F238E27FC236}">
                <a16:creationId xmlns:a16="http://schemas.microsoft.com/office/drawing/2014/main" id="{B43AE4A8-1F08-001C-822E-F8D8A2B8A56A}"/>
              </a:ext>
            </a:extLst>
          </p:cNvPr>
          <p:cNvSpPr/>
          <p:nvPr userDrawn="1"/>
        </p:nvSpPr>
        <p:spPr>
          <a:xfrm>
            <a:off x="0" y="-1"/>
            <a:ext cx="11028363" cy="9445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8FC68A16-08D3-5699-C250-308A068D21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052513"/>
            <a:ext cx="55451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pc="0"/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pc="0"/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9CB150F-FBC3-B007-A48A-1F6CCCEC1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9442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 //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887444A5-A456-A7F9-DBFE-173AC601B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9806487" cy="720725"/>
          </a:xfrm>
        </p:spPr>
        <p:txBody>
          <a:bodyPr>
            <a:normAutofit/>
          </a:bodyPr>
          <a:lstStyle>
            <a:lvl1pPr>
              <a:defRPr sz="2400" b="1">
                <a:latin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90DCEDC2-7ECC-93F4-1771-02C8B180DD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0303099" y="205740"/>
            <a:ext cx="657001" cy="63246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Partner</a:t>
            </a:r>
            <a:br>
              <a:rPr lang="de-DE" dirty="0"/>
            </a:br>
            <a:r>
              <a:rPr lang="de-DE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700688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04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 // TItel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338B0EC1-8D7F-8BED-9977-756CBF2762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052513"/>
            <a:ext cx="1152048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CEF010D-99B0-40C5-4135-EF4B80E92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9806487" cy="720725"/>
          </a:xfrm>
        </p:spPr>
        <p:txBody>
          <a:bodyPr>
            <a:normAutofit/>
          </a:bodyPr>
          <a:lstStyle>
            <a:lvl1pPr>
              <a:defRPr sz="2400" b="1">
                <a:latin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CF68503B-5B46-19E8-3C2B-79F76F327C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0303099" y="205740"/>
            <a:ext cx="657001" cy="63246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Partner</a:t>
            </a:r>
            <a:br>
              <a:rPr lang="de-DE" dirty="0"/>
            </a:br>
            <a:r>
              <a:rPr lang="de-DE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6008434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 // Titel mit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AE713D4A-FDF8-A998-FD22-C655EA8579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1375" y="1052513"/>
            <a:ext cx="55752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775DE63E-7FFF-37EE-B128-8FB9108D3E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052513"/>
            <a:ext cx="55451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0CF67A69-0E46-FB3E-0C0A-1B65076C3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9806487" cy="720725"/>
          </a:xfrm>
        </p:spPr>
        <p:txBody>
          <a:bodyPr>
            <a:normAutofit/>
          </a:bodyPr>
          <a:lstStyle>
            <a:lvl1pPr>
              <a:defRPr sz="2400" b="1">
                <a:latin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657D006D-2311-AD4E-17DF-9005E8BF8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0303099" y="205740"/>
            <a:ext cx="657001" cy="63246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Partner</a:t>
            </a:r>
            <a:br>
              <a:rPr lang="de-DE" dirty="0"/>
            </a:br>
            <a:r>
              <a:rPr lang="de-DE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9800962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 // // Titel mit Text und Bild (links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980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6C50B6-EE9C-4EAD-9302-1089F6C937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185" y="1052513"/>
            <a:ext cx="5587428" cy="5292725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657CD0DC-07D7-1C19-8379-6C8664096F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052513"/>
            <a:ext cx="55451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32093229-C08B-F1BE-C5CA-A0C7DD0DA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9806487" cy="720725"/>
          </a:xfrm>
        </p:spPr>
        <p:txBody>
          <a:bodyPr>
            <a:normAutofit/>
          </a:bodyPr>
          <a:lstStyle>
            <a:lvl1pPr>
              <a:defRPr sz="2400" b="1">
                <a:latin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51BE0378-4981-E236-93BA-6F8EF9493F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0303099" y="205740"/>
            <a:ext cx="657001" cy="63246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Partner</a:t>
            </a:r>
            <a:br>
              <a:rPr lang="de-DE" dirty="0"/>
            </a:br>
            <a:r>
              <a:rPr lang="de-DE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645399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// Bild ist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7E2EF8E0-6383-6636-5403-50083D1A0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5394960"/>
          </a:xfrm>
          <a:prstGeom prst="rect">
            <a:avLst/>
          </a:prstGeom>
        </p:spPr>
      </p:pic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228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1E43A7E-92FC-DBE3-678B-A0B21C5584FA}"/>
              </a:ext>
            </a:extLst>
          </p:cNvPr>
          <p:cNvSpPr/>
          <p:nvPr userDrawn="1"/>
        </p:nvSpPr>
        <p:spPr>
          <a:xfrm>
            <a:off x="0" y="3791566"/>
            <a:ext cx="12192000" cy="3066434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9344108" cy="1516973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br>
              <a:rPr lang="de-DE" dirty="0"/>
            </a:br>
            <a:r>
              <a:rPr lang="de-DE" dirty="0"/>
              <a:t>title style</a:t>
            </a:r>
          </a:p>
        </p:txBody>
      </p:sp>
      <p:sp>
        <p:nvSpPr>
          <p:cNvPr id="20" name="Rechteck 9">
            <a:extLst>
              <a:ext uri="{FF2B5EF4-FFF2-40B4-BE49-F238E27FC236}">
                <a16:creationId xmlns:a16="http://schemas.microsoft.com/office/drawing/2014/main" id="{C0EFF9DA-A241-A53E-A401-F939F7099015}"/>
              </a:ext>
            </a:extLst>
          </p:cNvPr>
          <p:cNvSpPr/>
          <p:nvPr userDrawn="1"/>
        </p:nvSpPr>
        <p:spPr>
          <a:xfrm>
            <a:off x="8073823" y="55399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defTabSz="914400">
              <a:defRPr/>
            </a:pPr>
            <a:r>
              <a:rPr lang="de-DE" sz="1800" b="0" i="0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l: +49 89 45 21 614 – 0</a:t>
            </a:r>
            <a:br>
              <a:rPr lang="de-DE" sz="1800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Mail: </a:t>
            </a:r>
            <a:r>
              <a:rPr lang="de-DE" sz="1800" b="0" i="0" u="none" strike="noStrike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il@vista-geo.d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Rechteck 9">
            <a:extLst>
              <a:ext uri="{FF2B5EF4-FFF2-40B4-BE49-F238E27FC236}">
                <a16:creationId xmlns:a16="http://schemas.microsoft.com/office/drawing/2014/main" id="{C51CFAF3-2AA5-4A15-CF5F-C3A3C2109099}"/>
              </a:ext>
            </a:extLst>
          </p:cNvPr>
          <p:cNvSpPr/>
          <p:nvPr userDrawn="1"/>
        </p:nvSpPr>
        <p:spPr>
          <a:xfrm>
            <a:off x="8073823" y="4868566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de-DE" sz="1800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abelsbergerstraße 51</a:t>
            </a:r>
          </a:p>
          <a:p>
            <a:pPr lvl="0" defTabSz="914400">
              <a:defRPr/>
            </a:pPr>
            <a:r>
              <a:rPr lang="de-DE" sz="1800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0333 München</a:t>
            </a:r>
          </a:p>
        </p:txBody>
      </p:sp>
      <p:sp>
        <p:nvSpPr>
          <p:cNvPr id="22" name="Rechteck 9">
            <a:extLst>
              <a:ext uri="{FF2B5EF4-FFF2-40B4-BE49-F238E27FC236}">
                <a16:creationId xmlns:a16="http://schemas.microsoft.com/office/drawing/2014/main" id="{8594F0C7-07FD-F84A-9E8F-B66325E70723}"/>
              </a:ext>
            </a:extLst>
          </p:cNvPr>
          <p:cNvSpPr/>
          <p:nvPr userDrawn="1"/>
        </p:nvSpPr>
        <p:spPr>
          <a:xfrm>
            <a:off x="8073823" y="609417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defTabSz="914400">
              <a:defRPr/>
            </a:pPr>
            <a:r>
              <a:rPr lang="de-DE" sz="1800" b="1" kern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sta-geo.de</a:t>
            </a:r>
          </a:p>
          <a:p>
            <a:pPr lvl="0" defTabSz="914400"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B1BD5B5-C0B7-4356-8D84-73E68C5128F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642612" y="4118694"/>
            <a:ext cx="2552531" cy="255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471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// Bild fix_Kontaktper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7E2EF8E0-6383-6636-5403-50083D1A0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5394960"/>
          </a:xfrm>
          <a:prstGeom prst="rect">
            <a:avLst/>
          </a:prstGeom>
        </p:spPr>
      </p:pic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228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1E43A7E-92FC-DBE3-678B-A0B21C5584FA}"/>
              </a:ext>
            </a:extLst>
          </p:cNvPr>
          <p:cNvSpPr/>
          <p:nvPr userDrawn="1"/>
        </p:nvSpPr>
        <p:spPr>
          <a:xfrm>
            <a:off x="0" y="3791566"/>
            <a:ext cx="12192000" cy="3066434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9344108" cy="1516973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br>
              <a:rPr lang="de-DE" dirty="0"/>
            </a:br>
            <a:r>
              <a:rPr lang="de-DE" dirty="0"/>
              <a:t>title styl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4D0A2B0C-202B-EE99-C22D-2CB8C8A865F5}"/>
              </a:ext>
            </a:extLst>
          </p:cNvPr>
          <p:cNvSpPr/>
          <p:nvPr userDrawn="1"/>
        </p:nvSpPr>
        <p:spPr>
          <a:xfrm>
            <a:off x="0" y="3791566"/>
            <a:ext cx="12192000" cy="3066434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C54F06D2-1C28-9D4E-C5F2-41D00536E8CD}"/>
              </a:ext>
            </a:extLst>
          </p:cNvPr>
          <p:cNvSpPr/>
          <p:nvPr userDrawn="1"/>
        </p:nvSpPr>
        <p:spPr>
          <a:xfrm>
            <a:off x="9196568" y="55399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defTabSz="914400">
              <a:defRPr/>
            </a:pPr>
            <a:r>
              <a:rPr lang="de-DE" sz="1800" b="0" i="0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l: +49 89 45 21 614 – 0</a:t>
            </a:r>
            <a:br>
              <a:rPr lang="de-DE" sz="1800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Mail: </a:t>
            </a:r>
            <a:r>
              <a:rPr lang="de-DE" sz="1800" b="0" i="0" u="none" strike="noStrike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il@vista-geo.d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hteck 9">
            <a:extLst>
              <a:ext uri="{FF2B5EF4-FFF2-40B4-BE49-F238E27FC236}">
                <a16:creationId xmlns:a16="http://schemas.microsoft.com/office/drawing/2014/main" id="{AE95A797-5977-55D4-B8ED-F1C2BA6AB6D1}"/>
              </a:ext>
            </a:extLst>
          </p:cNvPr>
          <p:cNvSpPr/>
          <p:nvPr userDrawn="1"/>
        </p:nvSpPr>
        <p:spPr>
          <a:xfrm>
            <a:off x="9196568" y="4868566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de-DE" sz="1800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abelsbergerstraße 51</a:t>
            </a:r>
          </a:p>
          <a:p>
            <a:pPr lvl="0" defTabSz="914400">
              <a:defRPr/>
            </a:pPr>
            <a:r>
              <a:rPr lang="de-DE" sz="1800" kern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0333 München</a:t>
            </a:r>
          </a:p>
        </p:txBody>
      </p:sp>
      <p:sp>
        <p:nvSpPr>
          <p:cNvPr id="7" name="Rechteck 9">
            <a:extLst>
              <a:ext uri="{FF2B5EF4-FFF2-40B4-BE49-F238E27FC236}">
                <a16:creationId xmlns:a16="http://schemas.microsoft.com/office/drawing/2014/main" id="{D608E6D2-C093-36EA-A3E2-64ABA5DCDD0F}"/>
              </a:ext>
            </a:extLst>
          </p:cNvPr>
          <p:cNvSpPr/>
          <p:nvPr userDrawn="1"/>
        </p:nvSpPr>
        <p:spPr>
          <a:xfrm>
            <a:off x="9196568" y="609417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defTabSz="914400">
              <a:defRPr/>
            </a:pPr>
            <a:r>
              <a:rPr lang="de-DE" sz="1800" b="1" kern="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sta-geo.de</a:t>
            </a:r>
          </a:p>
          <a:p>
            <a:pPr lvl="0" defTabSz="914400"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56302EA-6E46-1926-1200-9E7CFC1092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054" y="4997635"/>
            <a:ext cx="2806959" cy="446235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pPr lvl="0"/>
            <a:r>
              <a:rPr lang="de-DE" dirty="0"/>
              <a:t>Kontakt Name</a:t>
            </a:r>
            <a:br>
              <a:rPr lang="de-DE" dirty="0"/>
            </a:br>
            <a:r>
              <a:rPr lang="de-DE" dirty="0"/>
              <a:t>Position</a:t>
            </a:r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BCA337DE-BC57-2697-3291-1D56559CE6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2054" y="5848240"/>
            <a:ext cx="2806959" cy="44623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Tel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19" name="Textplatzhalter 16">
            <a:extLst>
              <a:ext uri="{FF2B5EF4-FFF2-40B4-BE49-F238E27FC236}">
                <a16:creationId xmlns:a16="http://schemas.microsoft.com/office/drawing/2014/main" id="{1DD307B0-8FF9-3001-5E4C-7A009AC5FD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87514" y="4997635"/>
            <a:ext cx="2806959" cy="446235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pPr lvl="0"/>
            <a:r>
              <a:rPr lang="de-DE" dirty="0"/>
              <a:t>Kontakt Name</a:t>
            </a:r>
            <a:br>
              <a:rPr lang="de-DE" dirty="0"/>
            </a:br>
            <a:r>
              <a:rPr lang="de-DE" dirty="0"/>
              <a:t>Position</a:t>
            </a:r>
          </a:p>
        </p:txBody>
      </p:sp>
      <p:sp>
        <p:nvSpPr>
          <p:cNvPr id="24" name="Textplatzhalter 16">
            <a:extLst>
              <a:ext uri="{FF2B5EF4-FFF2-40B4-BE49-F238E27FC236}">
                <a16:creationId xmlns:a16="http://schemas.microsoft.com/office/drawing/2014/main" id="{BFF262F2-5DED-F1E7-93AD-BCB03F3080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87514" y="5848240"/>
            <a:ext cx="2806959" cy="44623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Tel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680E8F1-1886-B442-9FBC-2906C546088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644037" y="4118694"/>
            <a:ext cx="2552531" cy="255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153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// Bildplatzhalt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584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09D9D87E-83CD-4F57-91C0-AB038C6D268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606024" y="0"/>
            <a:ext cx="11317287" cy="6899541"/>
          </a:xfrm>
          <a:custGeom>
            <a:avLst/>
            <a:gdLst>
              <a:gd name="connsiteX0" fmla="*/ 0 w 9415088"/>
              <a:gd name="connsiteY0" fmla="*/ 0 h 6858000"/>
              <a:gd name="connsiteX1" fmla="*/ 9415088 w 9415088"/>
              <a:gd name="connsiteY1" fmla="*/ 0 h 6858000"/>
              <a:gd name="connsiteX2" fmla="*/ 6217151 w 9415088"/>
              <a:gd name="connsiteY2" fmla="*/ 6858000 h 6858000"/>
              <a:gd name="connsiteX3" fmla="*/ 0 w 941508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15088" h="6858000">
                <a:moveTo>
                  <a:pt x="0" y="0"/>
                </a:moveTo>
                <a:lnTo>
                  <a:pt x="9415088" y="0"/>
                </a:lnTo>
                <a:lnTo>
                  <a:pt x="621715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21" name="Rechteck 9">
            <a:extLst>
              <a:ext uri="{FF2B5EF4-FFF2-40B4-BE49-F238E27FC236}">
                <a16:creationId xmlns:a16="http://schemas.microsoft.com/office/drawing/2014/main" id="{B5143025-2493-4286-B28D-5D316F4CC15F}"/>
              </a:ext>
            </a:extLst>
          </p:cNvPr>
          <p:cNvSpPr/>
          <p:nvPr userDrawn="1"/>
        </p:nvSpPr>
        <p:spPr>
          <a:xfrm>
            <a:off x="8073823" y="55399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defTabSz="914400">
              <a:defRPr/>
            </a:pPr>
            <a:r>
              <a:rPr lang="de-DE" sz="1800" b="0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l: +49 89 45 21 614 – 0</a:t>
            </a:r>
            <a:br>
              <a:rPr lang="de-DE" sz="1800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Mail: </a:t>
            </a:r>
            <a:r>
              <a:rPr lang="de-DE" sz="1800" b="0" i="0" u="none" strike="noStrike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il@vista-geo.de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Rechteck 9">
            <a:extLst>
              <a:ext uri="{FF2B5EF4-FFF2-40B4-BE49-F238E27FC236}">
                <a16:creationId xmlns:a16="http://schemas.microsoft.com/office/drawing/2014/main" id="{73C0424B-5F9D-49C6-9DFD-78AE93DFFC19}"/>
              </a:ext>
            </a:extLst>
          </p:cNvPr>
          <p:cNvSpPr/>
          <p:nvPr userDrawn="1"/>
        </p:nvSpPr>
        <p:spPr>
          <a:xfrm>
            <a:off x="8073823" y="4868566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de-DE" sz="1800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abelsbergerstraße 51</a:t>
            </a:r>
          </a:p>
          <a:p>
            <a:pPr lvl="0" defTabSz="914400">
              <a:defRPr/>
            </a:pPr>
            <a:r>
              <a:rPr lang="de-DE" sz="1800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0333 München</a:t>
            </a:r>
          </a:p>
        </p:txBody>
      </p:sp>
      <p:sp>
        <p:nvSpPr>
          <p:cNvPr id="23" name="Rechteck 9">
            <a:extLst>
              <a:ext uri="{FF2B5EF4-FFF2-40B4-BE49-F238E27FC236}">
                <a16:creationId xmlns:a16="http://schemas.microsoft.com/office/drawing/2014/main" id="{6F212A99-82CE-43A9-BBB0-69DA270EB569}"/>
              </a:ext>
            </a:extLst>
          </p:cNvPr>
          <p:cNvSpPr/>
          <p:nvPr userDrawn="1"/>
        </p:nvSpPr>
        <p:spPr>
          <a:xfrm>
            <a:off x="8073823" y="609417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defTabSz="914400">
              <a:defRPr/>
            </a:pPr>
            <a:r>
              <a:rPr lang="de-DE" sz="1800" b="1" kern="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sta-geo.de</a:t>
            </a:r>
          </a:p>
          <a:p>
            <a:pPr lvl="0" defTabSz="914400"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3920499"/>
            <a:ext cx="5814432" cy="1846659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br>
              <a:rPr lang="de-DE" dirty="0"/>
            </a:br>
            <a:r>
              <a:rPr lang="de-DE" dirty="0"/>
              <a:t>title styl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A7C10AD-31B0-C559-7630-8D8ADCCC318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434997" y="2478529"/>
            <a:ext cx="2552531" cy="255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7472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chlussfolie_LIL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540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2D7706-4C35-4835-E4FB-151EC975B1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LineDraw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018"/>
          <a:stretch/>
        </p:blipFill>
        <p:spPr>
          <a:xfrm>
            <a:off x="4571999" y="-56080"/>
            <a:ext cx="7620001" cy="7519462"/>
          </a:xfrm>
          <a:prstGeom prst="rect">
            <a:avLst/>
          </a:prstGeom>
        </p:spPr>
      </p:pic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B73A5870-9AF4-FE3B-1AFD-C675FD16FC9D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600" b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CCFA8D74-B1F7-4ED6-E472-26AB40C57A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1225954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C9AE039E-EB31-F51A-6DED-59014A9AFF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494342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8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0871EB2-F39D-E5D2-B3AD-63DD8E18807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659188" y="2115697"/>
            <a:ext cx="2940843" cy="294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784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:fade/>
      </p:transition>
    </mc:Choice>
    <mc:Fallback xmlns="">
      <p:transition spd="slow" advClick="0" advTm="3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32">
          <p15:clr>
            <a:srgbClr val="F26B43"/>
          </p15:clr>
        </p15:guide>
        <p15:guide id="2" pos="642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64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7197">
          <p15:clr>
            <a:srgbClr val="A4A3A4"/>
          </p15:clr>
        </p15:guide>
        <p15:guide id="8" orient="horz" pos="4065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B4990962-E4B2-323D-59C6-79C9B8EA36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LineDraw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018"/>
          <a:stretch/>
        </p:blipFill>
        <p:spPr>
          <a:xfrm flipH="1">
            <a:off x="-9524" y="0"/>
            <a:ext cx="12201523" cy="6858000"/>
          </a:xfrm>
          <a:prstGeom prst="rect">
            <a:avLst/>
          </a:prstGeom>
        </p:spPr>
      </p:pic>
      <p:pic>
        <p:nvPicPr>
          <p:cNvPr id="7" name="Grafik 6">
            <a:hlinkClick r:id="" action="ppaction://noaction"/>
            <a:extLst>
              <a:ext uri="{FF2B5EF4-FFF2-40B4-BE49-F238E27FC236}">
                <a16:creationId xmlns:a16="http://schemas.microsoft.com/office/drawing/2014/main" id="{FA52836A-01E4-5358-EAEC-29C7EF4651C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103" y="105100"/>
            <a:ext cx="1977193" cy="1977193"/>
          </a:xfrm>
          <a:prstGeom prst="rect">
            <a:avLst/>
          </a:prstGeom>
        </p:spPr>
      </p:pic>
      <p:sp>
        <p:nvSpPr>
          <p:cNvPr id="8" name="Gleichschenkliges Dreieck 2">
            <a:extLst>
              <a:ext uri="{FF2B5EF4-FFF2-40B4-BE49-F238E27FC236}">
                <a16:creationId xmlns:a16="http://schemas.microsoft.com/office/drawing/2014/main" id="{B4259E89-5098-184D-D2CB-2B4070204F41}"/>
              </a:ext>
            </a:extLst>
          </p:cNvPr>
          <p:cNvSpPr/>
          <p:nvPr userDrawn="1"/>
        </p:nvSpPr>
        <p:spPr>
          <a:xfrm rot="10800000">
            <a:off x="-16591" y="-4536"/>
            <a:ext cx="995664" cy="1723971"/>
          </a:xfrm>
          <a:custGeom>
            <a:avLst/>
            <a:gdLst>
              <a:gd name="connsiteX0" fmla="*/ 0 w 1977193"/>
              <a:gd name="connsiteY0" fmla="*/ 1719436 h 1719436"/>
              <a:gd name="connsiteX1" fmla="*/ 988597 w 1977193"/>
              <a:gd name="connsiteY1" fmla="*/ 0 h 1719436"/>
              <a:gd name="connsiteX2" fmla="*/ 1977193 w 1977193"/>
              <a:gd name="connsiteY2" fmla="*/ 1719436 h 1719436"/>
              <a:gd name="connsiteX3" fmla="*/ 0 w 1977193"/>
              <a:gd name="connsiteY3" fmla="*/ 1719436 h 1719436"/>
              <a:gd name="connsiteX0" fmla="*/ 0 w 1033764"/>
              <a:gd name="connsiteY0" fmla="*/ 1719436 h 1719436"/>
              <a:gd name="connsiteX1" fmla="*/ 988597 w 1033764"/>
              <a:gd name="connsiteY1" fmla="*/ 0 h 1719436"/>
              <a:gd name="connsiteX2" fmla="*/ 1033764 w 1033764"/>
              <a:gd name="connsiteY2" fmla="*/ 1704921 h 1719436"/>
              <a:gd name="connsiteX3" fmla="*/ 0 w 1033764"/>
              <a:gd name="connsiteY3" fmla="*/ 1719436 h 1719436"/>
              <a:gd name="connsiteX0" fmla="*/ 0 w 1014714"/>
              <a:gd name="connsiteY0" fmla="*/ 1719436 h 1719436"/>
              <a:gd name="connsiteX1" fmla="*/ 988597 w 1014714"/>
              <a:gd name="connsiteY1" fmla="*/ 0 h 1719436"/>
              <a:gd name="connsiteX2" fmla="*/ 1014714 w 1014714"/>
              <a:gd name="connsiteY2" fmla="*/ 1714446 h 1719436"/>
              <a:gd name="connsiteX3" fmla="*/ 0 w 1014714"/>
              <a:gd name="connsiteY3" fmla="*/ 1719436 h 1719436"/>
              <a:gd name="connsiteX0" fmla="*/ 0 w 995664"/>
              <a:gd name="connsiteY0" fmla="*/ 1719436 h 1723971"/>
              <a:gd name="connsiteX1" fmla="*/ 988597 w 995664"/>
              <a:gd name="connsiteY1" fmla="*/ 0 h 1723971"/>
              <a:gd name="connsiteX2" fmla="*/ 995664 w 995664"/>
              <a:gd name="connsiteY2" fmla="*/ 1723971 h 1723971"/>
              <a:gd name="connsiteX3" fmla="*/ 0 w 995664"/>
              <a:gd name="connsiteY3" fmla="*/ 1719436 h 1723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5664" h="1723971">
                <a:moveTo>
                  <a:pt x="0" y="1719436"/>
                </a:moveTo>
                <a:lnTo>
                  <a:pt x="988597" y="0"/>
                </a:lnTo>
                <a:cubicBezTo>
                  <a:pt x="990953" y="574657"/>
                  <a:pt x="993308" y="1149314"/>
                  <a:pt x="995664" y="1723971"/>
                </a:cubicBezTo>
                <a:lnTo>
                  <a:pt x="0" y="1719436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9" name="Gleichschenkliges Dreieck 3">
            <a:extLst>
              <a:ext uri="{FF2B5EF4-FFF2-40B4-BE49-F238E27FC236}">
                <a16:creationId xmlns:a16="http://schemas.microsoft.com/office/drawing/2014/main" id="{FAA10E0B-AE05-3AC2-4F61-400357E5A527}"/>
              </a:ext>
            </a:extLst>
          </p:cNvPr>
          <p:cNvSpPr/>
          <p:nvPr userDrawn="1"/>
        </p:nvSpPr>
        <p:spPr>
          <a:xfrm rot="14482413">
            <a:off x="10194499" y="4219975"/>
            <a:ext cx="2649471" cy="2987929"/>
          </a:xfrm>
          <a:custGeom>
            <a:avLst/>
            <a:gdLst>
              <a:gd name="connsiteX0" fmla="*/ 0 w 3641527"/>
              <a:gd name="connsiteY0" fmla="*/ 2987929 h 2987929"/>
              <a:gd name="connsiteX1" fmla="*/ 1820764 w 3641527"/>
              <a:gd name="connsiteY1" fmla="*/ 0 h 2987929"/>
              <a:gd name="connsiteX2" fmla="*/ 3641527 w 3641527"/>
              <a:gd name="connsiteY2" fmla="*/ 2987929 h 2987929"/>
              <a:gd name="connsiteX3" fmla="*/ 0 w 3641527"/>
              <a:gd name="connsiteY3" fmla="*/ 2987929 h 2987929"/>
              <a:gd name="connsiteX0" fmla="*/ 0 w 2663927"/>
              <a:gd name="connsiteY0" fmla="*/ 1584534 h 2987929"/>
              <a:gd name="connsiteX1" fmla="*/ 843164 w 2663927"/>
              <a:gd name="connsiteY1" fmla="*/ 0 h 2987929"/>
              <a:gd name="connsiteX2" fmla="*/ 2663927 w 2663927"/>
              <a:gd name="connsiteY2" fmla="*/ 2987929 h 2987929"/>
              <a:gd name="connsiteX3" fmla="*/ 0 w 2663927"/>
              <a:gd name="connsiteY3" fmla="*/ 1584534 h 2987929"/>
              <a:gd name="connsiteX0" fmla="*/ 0 w 2649471"/>
              <a:gd name="connsiteY0" fmla="*/ 1538167 h 2987929"/>
              <a:gd name="connsiteX1" fmla="*/ 828708 w 2649471"/>
              <a:gd name="connsiteY1" fmla="*/ 0 h 2987929"/>
              <a:gd name="connsiteX2" fmla="*/ 2649471 w 2649471"/>
              <a:gd name="connsiteY2" fmla="*/ 2987929 h 2987929"/>
              <a:gd name="connsiteX3" fmla="*/ 0 w 2649471"/>
              <a:gd name="connsiteY3" fmla="*/ 1538167 h 2987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9471" h="2987929">
                <a:moveTo>
                  <a:pt x="0" y="1538167"/>
                </a:moveTo>
                <a:lnTo>
                  <a:pt x="828708" y="0"/>
                </a:lnTo>
                <a:lnTo>
                  <a:pt x="2649471" y="2987929"/>
                </a:lnTo>
                <a:lnTo>
                  <a:pt x="0" y="1538167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sp>
        <p:nvSpPr>
          <p:cNvPr id="2" name="Freihandform: Form 23">
            <a:extLst>
              <a:ext uri="{FF2B5EF4-FFF2-40B4-BE49-F238E27FC236}">
                <a16:creationId xmlns:a16="http://schemas.microsoft.com/office/drawing/2014/main" id="{8AAF2EA6-186B-3F7A-6EA7-37057EE9E372}"/>
              </a:ext>
            </a:extLst>
          </p:cNvPr>
          <p:cNvSpPr/>
          <p:nvPr userDrawn="1"/>
        </p:nvSpPr>
        <p:spPr>
          <a:xfrm rot="5400000" flipH="1">
            <a:off x="-1461793" y="-1035560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accent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>
              <a:solidFill>
                <a:schemeClr val="bg1"/>
              </a:solidFill>
              <a:effectLst/>
            </a:endParaRPr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DE9C74A9-73CD-EC96-9BF4-25169F52E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8" y="1052513"/>
            <a:ext cx="4954541" cy="1477328"/>
          </a:xfrm>
        </p:spPr>
        <p:txBody>
          <a:bodyPr vert="horz"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78454EF1-E151-A776-A7E2-8BB82CD70E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37" y="2841373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Verfasser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5AFA4593-1223-C3F7-16FC-EBBB2C99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0037" y="3717137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  <a:endParaRPr lang="de-DE" dirty="0"/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46FC7DDE-B013-4823-5177-B92987269C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0037" y="3227739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E12FB70B-C551-5449-F212-8B55AA24F57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0037" y="4090624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23160894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_MoreInfo_eng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540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2D7706-4C35-4835-E4FB-151EC975B1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LineDraw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018"/>
          <a:stretch/>
        </p:blipFill>
        <p:spPr>
          <a:xfrm>
            <a:off x="4571999" y="-56080"/>
            <a:ext cx="7620001" cy="7519462"/>
          </a:xfrm>
          <a:prstGeom prst="rect">
            <a:avLst/>
          </a:prstGeom>
        </p:spPr>
      </p:pic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B73A5870-9AF4-FE3B-1AFD-C675FD16FC9D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600" b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itel 2">
            <a:extLst>
              <a:ext uri="{FF2B5EF4-FFF2-40B4-BE49-F238E27FC236}">
                <a16:creationId xmlns:a16="http://schemas.microsoft.com/office/drawing/2014/main" id="{D95F33B5-25AA-516B-0313-DAAC7BFA7EDC}"/>
              </a:ext>
            </a:extLst>
          </p:cNvPr>
          <p:cNvSpPr txBox="1">
            <a:spLocks/>
          </p:cNvSpPr>
          <p:nvPr userDrawn="1"/>
        </p:nvSpPr>
        <p:spPr>
          <a:xfrm>
            <a:off x="830108" y="1451826"/>
            <a:ext cx="6050183" cy="122595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600" cap="none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600" cap="none" spc="4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Visit us for More Information</a:t>
            </a:r>
            <a:endParaRPr kumimoji="0" lang="de-DE" sz="3200" b="1" i="0" u="none" strike="noStrike" kern="600" cap="none" spc="4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17500" algn="tl">
                  <a:srgbClr val="000000">
                    <a:alpha val="47000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98F398BB-D0EC-055A-B4FE-B7FA69402A87}"/>
              </a:ext>
            </a:extLst>
          </p:cNvPr>
          <p:cNvSpPr txBox="1">
            <a:spLocks/>
          </p:cNvSpPr>
          <p:nvPr userDrawn="1"/>
        </p:nvSpPr>
        <p:spPr>
          <a:xfrm>
            <a:off x="830106" y="2758362"/>
            <a:ext cx="9212849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2800" b="1" kern="600" spc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587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kern="600" spc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1800" kern="600" spc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49053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800" kern="600" spc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600" cap="none" spc="0" baseline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4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008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4000" b="1" i="0" u="none" strike="noStrike" kern="6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ista-geo.de</a:t>
            </a:r>
            <a:endParaRPr kumimoji="0" lang="de-DE" sz="4000" b="1" i="0" u="none" strike="noStrike" kern="6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17500" algn="tl">
                  <a:srgbClr val="000000">
                    <a:alpha val="47000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57E2F58-14C3-C864-E5A9-037B56F56BE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866041" y="5597912"/>
            <a:ext cx="878800" cy="747326"/>
          </a:xfrm>
          <a:prstGeom prst="rect">
            <a:avLst/>
          </a:prstGeom>
        </p:spPr>
      </p:pic>
      <p:sp>
        <p:nvSpPr>
          <p:cNvPr id="18" name="Titel 2">
            <a:extLst>
              <a:ext uri="{FF2B5EF4-FFF2-40B4-BE49-F238E27FC236}">
                <a16:creationId xmlns:a16="http://schemas.microsoft.com/office/drawing/2014/main" id="{D3CADF38-A601-EA5F-A6B3-DBAEBDC42132}"/>
              </a:ext>
            </a:extLst>
          </p:cNvPr>
          <p:cNvSpPr txBox="1">
            <a:spLocks/>
          </p:cNvSpPr>
          <p:nvPr userDrawn="1"/>
        </p:nvSpPr>
        <p:spPr>
          <a:xfrm>
            <a:off x="3034878" y="5162840"/>
            <a:ext cx="2052278" cy="122595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600" cap="none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600" cap="none" spc="4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Follow </a:t>
            </a:r>
            <a:r>
              <a:rPr kumimoji="0" lang="de-DE" sz="3200" b="1" i="0" u="none" strike="noStrike" kern="600" cap="none" spc="40" normalizeH="0" baseline="0" noProof="0" dirty="0" err="1">
                <a:ln>
                  <a:noFill/>
                </a:ln>
                <a:solidFill>
                  <a:srgbClr val="FFFFFF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us</a:t>
            </a:r>
            <a:endParaRPr kumimoji="0" lang="de-DE" sz="3200" b="1" i="0" u="none" strike="noStrike" kern="600" cap="none" spc="4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17500" algn="tl">
                  <a:srgbClr val="000000">
                    <a:alpha val="47000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64781D0-A4E0-18D0-AAA7-60515ECFBBF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659188" y="2115697"/>
            <a:ext cx="2940843" cy="294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633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>
        <p:fade/>
      </p:transition>
    </mc:Choice>
    <mc:Fallback xmlns="">
      <p:transition spd="slow" advClick="0" advTm="3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32">
          <p15:clr>
            <a:srgbClr val="F26B43"/>
          </p15:clr>
        </p15:guide>
        <p15:guide id="2" pos="642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64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7197">
          <p15:clr>
            <a:srgbClr val="A4A3A4"/>
          </p15:clr>
        </p15:guide>
        <p15:guide id="8" orient="horz" pos="4065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ATIV// Titel 2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081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EC70416A-78D1-4FAA-9263-419E74D1E3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052512"/>
            <a:ext cx="5131816" cy="5292725"/>
          </a:xfrm>
          <a:prstGeom prst="rect">
            <a:avLst/>
          </a:prstGeom>
          <a:solidFill>
            <a:schemeClr val="tx1"/>
          </a:solidFill>
        </p:spPr>
        <p:txBody>
          <a:bodyPr wrap="square" lIns="360000" tIns="504000" rIns="360000" bIns="504000">
            <a:noAutofit/>
          </a:bodyPr>
          <a:lstStyle>
            <a:lvl1pPr marL="285750" indent="-285750">
              <a:buFont typeface="Wingdings" panose="05000000000000000000" pitchFamily="2" charset="2"/>
              <a:buChar char="§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Font typeface="Arial" panose="020B0604020202020204" pitchFamily="34" charset="0"/>
              <a:buChar char="•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Font typeface="Symbol" panose="05050102010706020507" pitchFamily="18" charset="2"/>
              <a:buChar char="-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38BFF1B-73CF-4984-9F29-2D30CCD703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10888" y="1052513"/>
            <a:ext cx="5197111" cy="5292725"/>
          </a:xfrm>
          <a:prstGeom prst="rect">
            <a:avLst/>
          </a:prstGeom>
          <a:solidFill>
            <a:schemeClr val="tx2"/>
          </a:solidFill>
        </p:spPr>
        <p:txBody>
          <a:bodyPr wrap="square" lIns="360000" tIns="504000" rIns="360000" bIns="504000">
            <a:noAutofit/>
          </a:bodyPr>
          <a:lstStyle>
            <a:lvl1pPr marL="358775" indent="-358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lang="de-DE" sz="1600" kern="600" spc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715963" indent="-357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de-DE" sz="1600" kern="600" spc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360363" indent="-3603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lang="de-DE" sz="1600" kern="600" spc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28201" y="4484284"/>
            <a:ext cx="1335600" cy="1335600"/>
          </a:xfrm>
          <a:prstGeom prst="ellipse">
            <a:avLst/>
          </a:prstGeom>
          <a:solidFill>
            <a:srgbClr val="DAFB11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" name="Titel 3">
            <a:extLst>
              <a:ext uri="{FF2B5EF4-FFF2-40B4-BE49-F238E27FC236}">
                <a16:creationId xmlns:a16="http://schemas.microsoft.com/office/drawing/2014/main" id="{07C195F1-7DE7-1B3C-2D2F-F06FF196DF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F255D319-C38C-41C8-11AF-9A84CE8E748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172824" y="1052513"/>
            <a:ext cx="1019175" cy="529272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1696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ATIV// 2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914D2BDA-7133-3DD7-18E6-6949B70B9456}"/>
              </a:ext>
            </a:extLst>
          </p:cNvPr>
          <p:cNvSpPr/>
          <p:nvPr userDrawn="1"/>
        </p:nvSpPr>
        <p:spPr>
          <a:xfrm>
            <a:off x="-13193" y="0"/>
            <a:ext cx="11186018" cy="364183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081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EC70416A-78D1-4FAA-9263-419E74D1E3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15888"/>
            <a:ext cx="5250668" cy="6229349"/>
          </a:xfrm>
          <a:prstGeom prst="rect">
            <a:avLst/>
          </a:prstGeom>
          <a:solidFill>
            <a:schemeClr val="tx1"/>
          </a:solidFill>
        </p:spPr>
        <p:txBody>
          <a:bodyPr wrap="square" lIns="360000" tIns="504000" rIns="360000" bIns="504000">
            <a:noAutofit/>
          </a:bodyPr>
          <a:lstStyle>
            <a:lvl1pPr marL="285750" indent="-285750">
              <a:buFont typeface="Wingdings" panose="05000000000000000000" pitchFamily="2" charset="2"/>
              <a:buChar char="§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Font typeface="Arial" panose="020B0604020202020204" pitchFamily="34" charset="0"/>
              <a:buChar char="•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Font typeface="Symbol" panose="05050102010706020507" pitchFamily="18" charset="2"/>
              <a:buChar char="-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38BFF1B-73CF-4984-9F29-2D30CCD703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10888" y="115889"/>
            <a:ext cx="5317475" cy="6229349"/>
          </a:xfrm>
          <a:prstGeom prst="rect">
            <a:avLst/>
          </a:prstGeom>
          <a:solidFill>
            <a:schemeClr val="tx2"/>
          </a:solidFill>
        </p:spPr>
        <p:txBody>
          <a:bodyPr wrap="square" lIns="360000" tIns="504000" rIns="360000" bIns="504000">
            <a:noAutofit/>
          </a:bodyPr>
          <a:lstStyle>
            <a:lvl1pPr marL="358775" indent="-358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lang="de-DE" sz="1600" kern="600" spc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715963" indent="-357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de-DE" sz="1600" kern="600" spc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360363" indent="-3603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lang="de-DE" sz="1600" kern="600" spc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28201" y="4484284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styles</a:t>
            </a:r>
            <a:endParaRPr lang="de-DE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F255D319-C38C-41C8-11AF-9A84CE8E748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172824" y="1052513"/>
            <a:ext cx="1019175" cy="529272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5074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ATIV// 2 Textboxen_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914D2BDA-7133-3DD7-18E6-6949B70B9456}"/>
              </a:ext>
            </a:extLst>
          </p:cNvPr>
          <p:cNvSpPr/>
          <p:nvPr userDrawn="1"/>
        </p:nvSpPr>
        <p:spPr>
          <a:xfrm>
            <a:off x="-13193" y="0"/>
            <a:ext cx="11186018" cy="364183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081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EC70416A-78D1-4FAA-9263-419E74D1E3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9184" y="115888"/>
            <a:ext cx="5250668" cy="6229349"/>
          </a:xfrm>
          <a:prstGeom prst="rect">
            <a:avLst/>
          </a:prstGeom>
          <a:solidFill>
            <a:schemeClr val="accent6"/>
          </a:solidFill>
        </p:spPr>
        <p:txBody>
          <a:bodyPr wrap="square" lIns="360000" tIns="504000" rIns="360000" bIns="504000">
            <a:noAutofit/>
          </a:bodyPr>
          <a:lstStyle>
            <a:lvl1pPr marL="285750" indent="-285750">
              <a:buFont typeface="Wingdings" panose="05000000000000000000" pitchFamily="2" charset="2"/>
              <a:buChar char="§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Font typeface="Arial" panose="020B0604020202020204" pitchFamily="34" charset="0"/>
              <a:buChar char="•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Font typeface="Symbol" panose="05050102010706020507" pitchFamily="18" charset="2"/>
              <a:buChar char="-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38BFF1B-73CF-4984-9F29-2D30CCD703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10888" y="115889"/>
            <a:ext cx="5317475" cy="6229349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504000" rIns="360000" bIns="504000">
            <a:noAutofit/>
          </a:bodyPr>
          <a:lstStyle>
            <a:lvl1pPr marL="358775" indent="-358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lang="de-DE" sz="1600" kern="600" spc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715963" indent="-357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lang="de-DE" sz="1600" kern="600" spc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360363" indent="-3603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lang="de-DE" sz="1600" kern="600" spc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28201" y="4484284"/>
            <a:ext cx="1335600" cy="1335600"/>
          </a:xfrm>
          <a:prstGeom prst="ellipse">
            <a:avLst/>
          </a:prstGeom>
          <a:solidFill>
            <a:srgbClr val="DAFB11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styles</a:t>
            </a:r>
            <a:endParaRPr lang="de-DE"/>
          </a:p>
        </p:txBody>
      </p:sp>
      <p:sp>
        <p:nvSpPr>
          <p:cNvPr id="4" name="Picture Placeholder 9">
            <a:extLst>
              <a:ext uri="{FF2B5EF4-FFF2-40B4-BE49-F238E27FC236}">
                <a16:creationId xmlns:a16="http://schemas.microsoft.com/office/drawing/2014/main" id="{F255D319-C38C-41C8-11AF-9A84CE8E748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172824" y="1052513"/>
            <a:ext cx="1019175" cy="529272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5820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ATIV// Titel 4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790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2AC76D0E-2E74-40A1-90B8-A4BCCDCE6C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038" y="1052514"/>
            <a:ext cx="2545455" cy="5292724"/>
          </a:xfrm>
          <a:prstGeom prst="rect">
            <a:avLst/>
          </a:prstGeom>
          <a:solidFill>
            <a:schemeClr val="tx1"/>
          </a:solidFill>
        </p:spPr>
        <p:txBody>
          <a:bodyPr wrap="square" lIns="180000" tIns="360000" rIns="180000" bIns="360000">
            <a:noAutofit/>
          </a:bodyPr>
          <a:lstStyle>
            <a:lvl1pPr marL="358775" indent="-358775">
              <a:buFont typeface="Wingdings" panose="05000000000000000000" pitchFamily="2" charset="2"/>
              <a:buChar char="§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Font typeface="Arial" panose="020B0604020202020204" pitchFamily="34" charset="0"/>
              <a:buChar char="•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Font typeface="Symbol" panose="05050102010706020507" pitchFamily="18" charset="2"/>
              <a:buChar char="-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99A7C70-A183-4EE4-A764-684D3950B6C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27661" y="1052514"/>
            <a:ext cx="2545456" cy="5292724"/>
          </a:xfrm>
          <a:prstGeom prst="rect">
            <a:avLst/>
          </a:prstGeom>
          <a:solidFill>
            <a:schemeClr val="tx2"/>
          </a:solidFill>
        </p:spPr>
        <p:txBody>
          <a:bodyPr wrap="square" lIns="180000" tIns="360000" rIns="180000" bIns="360000">
            <a:noAutofit/>
          </a:bodyPr>
          <a:lstStyle>
            <a:lvl1pPr marL="285750" indent="-285750">
              <a:buClr>
                <a:schemeClr val="bg1"/>
              </a:buClr>
              <a:buFont typeface="Wingdings" panose="05000000000000000000" pitchFamily="2" charset="2"/>
              <a:buChar char="§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bg1"/>
              </a:buClr>
              <a:buFont typeface="Arial" panose="020B0604020202020204" pitchFamily="34" charset="0"/>
              <a:buChar char="•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Clr>
                <a:schemeClr val="bg1"/>
              </a:buClr>
              <a:buFont typeface="Symbol" panose="05050102010706020507" pitchFamily="18" charset="2"/>
              <a:buChar char="-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1582" y="4745837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styles</a:t>
            </a:r>
            <a:endParaRPr lang="de-DE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71A3D910-AF8D-4A10-93AD-2A155C4B53D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755285" y="1052514"/>
            <a:ext cx="2545455" cy="5292724"/>
          </a:xfrm>
          <a:prstGeom prst="rect">
            <a:avLst/>
          </a:prstGeom>
          <a:solidFill>
            <a:schemeClr val="accent5"/>
          </a:solidFill>
        </p:spPr>
        <p:txBody>
          <a:bodyPr wrap="square" lIns="180000" tIns="360000" rIns="180000" bIns="360000">
            <a:noAutofit/>
          </a:bodyPr>
          <a:lstStyle>
            <a:lvl1pPr marL="358775" indent="-358775">
              <a:buClr>
                <a:schemeClr val="tx1"/>
              </a:buClr>
              <a:buFont typeface="Wingdings" panose="05000000000000000000" pitchFamily="2" charset="2"/>
              <a:buChar char="§"/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tx1"/>
              </a:buClr>
              <a:buFont typeface="Arial" panose="020B0604020202020204" pitchFamily="34" charset="0"/>
              <a:buChar char="•"/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Clr>
                <a:schemeClr val="bg1"/>
              </a:buClr>
              <a:buFont typeface="Symbol" panose="05050102010706020507" pitchFamily="18" charset="2"/>
              <a:buChar char="-"/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Picture Placeholder 63">
            <a:extLst>
              <a:ext uri="{FF2B5EF4-FFF2-40B4-BE49-F238E27FC236}">
                <a16:creationId xmlns:a16="http://schemas.microsoft.com/office/drawing/2014/main" id="{7D241DC8-F494-FC1B-3D90-19BD2D502AC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 flipH="1">
            <a:off x="9820894" y="2648197"/>
            <a:ext cx="2371106" cy="4209803"/>
          </a:xfrm>
          <a:prstGeom prst="rtTriangle">
            <a:avLst/>
          </a:pr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5" name="Text Placeholder 55">
            <a:extLst>
              <a:ext uri="{FF2B5EF4-FFF2-40B4-BE49-F238E27FC236}">
                <a16:creationId xmlns:a16="http://schemas.microsoft.com/office/drawing/2014/main" id="{8A71F448-C1ED-74D6-F156-9F739A543C1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75168" y="1052514"/>
            <a:ext cx="2551455" cy="5292724"/>
          </a:xfrm>
          <a:custGeom>
            <a:avLst/>
            <a:gdLst>
              <a:gd name="connsiteX0" fmla="*/ 0 w 3357005"/>
              <a:gd name="connsiteY0" fmla="*/ 0 h 6013476"/>
              <a:gd name="connsiteX1" fmla="*/ 3357005 w 3357005"/>
              <a:gd name="connsiteY1" fmla="*/ 0 h 6013476"/>
              <a:gd name="connsiteX2" fmla="*/ 3357005 w 3357005"/>
              <a:gd name="connsiteY2" fmla="*/ 6013476 h 6013476"/>
              <a:gd name="connsiteX3" fmla="*/ 0 w 3357005"/>
              <a:gd name="connsiteY3" fmla="*/ 6013476 h 6013476"/>
              <a:gd name="connsiteX4" fmla="*/ 0 w 3357005"/>
              <a:gd name="connsiteY4" fmla="*/ 0 h 6013476"/>
              <a:gd name="connsiteX0" fmla="*/ 0 w 3357005"/>
              <a:gd name="connsiteY0" fmla="*/ 0 h 6013476"/>
              <a:gd name="connsiteX1" fmla="*/ 3357005 w 3357005"/>
              <a:gd name="connsiteY1" fmla="*/ 0 h 6013476"/>
              <a:gd name="connsiteX2" fmla="*/ 3357005 w 3357005"/>
              <a:gd name="connsiteY2" fmla="*/ 6013476 h 6013476"/>
              <a:gd name="connsiteX3" fmla="*/ 2327033 w 3357005"/>
              <a:gd name="connsiteY3" fmla="*/ 6005841 h 6013476"/>
              <a:gd name="connsiteX4" fmla="*/ 0 w 3357005"/>
              <a:gd name="connsiteY4" fmla="*/ 6013476 h 6013476"/>
              <a:gd name="connsiteX5" fmla="*/ 0 w 3357005"/>
              <a:gd name="connsiteY5" fmla="*/ 0 h 6013476"/>
              <a:gd name="connsiteX0" fmla="*/ 0 w 3357005"/>
              <a:gd name="connsiteY0" fmla="*/ 0 h 6013476"/>
              <a:gd name="connsiteX1" fmla="*/ 3357005 w 3357005"/>
              <a:gd name="connsiteY1" fmla="*/ 0 h 6013476"/>
              <a:gd name="connsiteX2" fmla="*/ 3357005 w 3357005"/>
              <a:gd name="connsiteY2" fmla="*/ 6013476 h 6013476"/>
              <a:gd name="connsiteX3" fmla="*/ 2327033 w 3357005"/>
              <a:gd name="connsiteY3" fmla="*/ 6005841 h 6013476"/>
              <a:gd name="connsiteX4" fmla="*/ 0 w 3357005"/>
              <a:gd name="connsiteY4" fmla="*/ 6013476 h 6013476"/>
              <a:gd name="connsiteX5" fmla="*/ 0 w 3357005"/>
              <a:gd name="connsiteY5" fmla="*/ 0 h 6013476"/>
              <a:gd name="connsiteX0" fmla="*/ 0 w 3380755"/>
              <a:gd name="connsiteY0" fmla="*/ 0 h 6013476"/>
              <a:gd name="connsiteX1" fmla="*/ 3357005 w 3380755"/>
              <a:gd name="connsiteY1" fmla="*/ 0 h 6013476"/>
              <a:gd name="connsiteX2" fmla="*/ 3380755 w 3380755"/>
              <a:gd name="connsiteY2" fmla="*/ 5479087 h 6013476"/>
              <a:gd name="connsiteX3" fmla="*/ 2327033 w 3380755"/>
              <a:gd name="connsiteY3" fmla="*/ 6005841 h 6013476"/>
              <a:gd name="connsiteX4" fmla="*/ 0 w 3380755"/>
              <a:gd name="connsiteY4" fmla="*/ 6013476 h 6013476"/>
              <a:gd name="connsiteX5" fmla="*/ 0 w 3380755"/>
              <a:gd name="connsiteY5" fmla="*/ 0 h 6013476"/>
              <a:gd name="connsiteX0" fmla="*/ 0 w 3380755"/>
              <a:gd name="connsiteY0" fmla="*/ 0 h 6013476"/>
              <a:gd name="connsiteX1" fmla="*/ 3357005 w 3380755"/>
              <a:gd name="connsiteY1" fmla="*/ 0 h 6013476"/>
              <a:gd name="connsiteX2" fmla="*/ 3380755 w 3380755"/>
              <a:gd name="connsiteY2" fmla="*/ 5479087 h 6013476"/>
              <a:gd name="connsiteX3" fmla="*/ 2327033 w 3380755"/>
              <a:gd name="connsiteY3" fmla="*/ 6005841 h 6013476"/>
              <a:gd name="connsiteX4" fmla="*/ 0 w 3380755"/>
              <a:gd name="connsiteY4" fmla="*/ 6013476 h 6013476"/>
              <a:gd name="connsiteX5" fmla="*/ 0 w 3380755"/>
              <a:gd name="connsiteY5" fmla="*/ 0 h 6013476"/>
              <a:gd name="connsiteX0" fmla="*/ 0 w 3368880"/>
              <a:gd name="connsiteY0" fmla="*/ 0 h 6013476"/>
              <a:gd name="connsiteX1" fmla="*/ 3357005 w 3368880"/>
              <a:gd name="connsiteY1" fmla="*/ 0 h 6013476"/>
              <a:gd name="connsiteX2" fmla="*/ 3368880 w 3368880"/>
              <a:gd name="connsiteY2" fmla="*/ 4529061 h 6013476"/>
              <a:gd name="connsiteX3" fmla="*/ 2327033 w 3368880"/>
              <a:gd name="connsiteY3" fmla="*/ 6005841 h 6013476"/>
              <a:gd name="connsiteX4" fmla="*/ 0 w 3368880"/>
              <a:gd name="connsiteY4" fmla="*/ 6013476 h 6013476"/>
              <a:gd name="connsiteX5" fmla="*/ 0 w 3368880"/>
              <a:gd name="connsiteY5" fmla="*/ 0 h 6013476"/>
              <a:gd name="connsiteX0" fmla="*/ 0 w 3368880"/>
              <a:gd name="connsiteY0" fmla="*/ 0 h 6013476"/>
              <a:gd name="connsiteX1" fmla="*/ 3357005 w 3368880"/>
              <a:gd name="connsiteY1" fmla="*/ 0 h 6013476"/>
              <a:gd name="connsiteX2" fmla="*/ 3368880 w 3368880"/>
              <a:gd name="connsiteY2" fmla="*/ 4529061 h 6013476"/>
              <a:gd name="connsiteX3" fmla="*/ 2327033 w 3368880"/>
              <a:gd name="connsiteY3" fmla="*/ 6005841 h 6013476"/>
              <a:gd name="connsiteX4" fmla="*/ 0 w 3368880"/>
              <a:gd name="connsiteY4" fmla="*/ 6013476 h 6013476"/>
              <a:gd name="connsiteX5" fmla="*/ 0 w 3368880"/>
              <a:gd name="connsiteY5" fmla="*/ 0 h 6013476"/>
              <a:gd name="connsiteX0" fmla="*/ 0 w 3368880"/>
              <a:gd name="connsiteY0" fmla="*/ 0 h 6013476"/>
              <a:gd name="connsiteX1" fmla="*/ 3357005 w 3368880"/>
              <a:gd name="connsiteY1" fmla="*/ 0 h 6013476"/>
              <a:gd name="connsiteX2" fmla="*/ 3368880 w 3368880"/>
              <a:gd name="connsiteY2" fmla="*/ 4339055 h 6013476"/>
              <a:gd name="connsiteX3" fmla="*/ 2327033 w 3368880"/>
              <a:gd name="connsiteY3" fmla="*/ 6005841 h 6013476"/>
              <a:gd name="connsiteX4" fmla="*/ 0 w 3368880"/>
              <a:gd name="connsiteY4" fmla="*/ 6013476 h 6013476"/>
              <a:gd name="connsiteX5" fmla="*/ 0 w 3368880"/>
              <a:gd name="connsiteY5" fmla="*/ 0 h 6013476"/>
              <a:gd name="connsiteX0" fmla="*/ 0 w 3368880"/>
              <a:gd name="connsiteY0" fmla="*/ 0 h 6013476"/>
              <a:gd name="connsiteX1" fmla="*/ 3357005 w 3368880"/>
              <a:gd name="connsiteY1" fmla="*/ 0 h 6013476"/>
              <a:gd name="connsiteX2" fmla="*/ 3368880 w 3368880"/>
              <a:gd name="connsiteY2" fmla="*/ 4339055 h 6013476"/>
              <a:gd name="connsiteX3" fmla="*/ 2327033 w 3368880"/>
              <a:gd name="connsiteY3" fmla="*/ 6005841 h 6013476"/>
              <a:gd name="connsiteX4" fmla="*/ 0 w 3368880"/>
              <a:gd name="connsiteY4" fmla="*/ 6013476 h 6013476"/>
              <a:gd name="connsiteX5" fmla="*/ 0 w 3368880"/>
              <a:gd name="connsiteY5" fmla="*/ 0 h 6013476"/>
              <a:gd name="connsiteX0" fmla="*/ 0 w 3361260"/>
              <a:gd name="connsiteY0" fmla="*/ 0 h 6013476"/>
              <a:gd name="connsiteX1" fmla="*/ 3357005 w 3361260"/>
              <a:gd name="connsiteY1" fmla="*/ 0 h 6013476"/>
              <a:gd name="connsiteX2" fmla="*/ 3361260 w 3361260"/>
              <a:gd name="connsiteY2" fmla="*/ 4270475 h 6013476"/>
              <a:gd name="connsiteX3" fmla="*/ 2327033 w 3361260"/>
              <a:gd name="connsiteY3" fmla="*/ 6005841 h 6013476"/>
              <a:gd name="connsiteX4" fmla="*/ 0 w 3361260"/>
              <a:gd name="connsiteY4" fmla="*/ 6013476 h 6013476"/>
              <a:gd name="connsiteX5" fmla="*/ 0 w 3361260"/>
              <a:gd name="connsiteY5" fmla="*/ 0 h 6013476"/>
              <a:gd name="connsiteX0" fmla="*/ 0 w 3361260"/>
              <a:gd name="connsiteY0" fmla="*/ 0 h 6013476"/>
              <a:gd name="connsiteX1" fmla="*/ 3357005 w 3361260"/>
              <a:gd name="connsiteY1" fmla="*/ 0 h 6013476"/>
              <a:gd name="connsiteX2" fmla="*/ 3361260 w 3361260"/>
              <a:gd name="connsiteY2" fmla="*/ 4270475 h 6013476"/>
              <a:gd name="connsiteX3" fmla="*/ 2327033 w 3361260"/>
              <a:gd name="connsiteY3" fmla="*/ 6005841 h 6013476"/>
              <a:gd name="connsiteX4" fmla="*/ 0 w 3361260"/>
              <a:gd name="connsiteY4" fmla="*/ 6013476 h 6013476"/>
              <a:gd name="connsiteX5" fmla="*/ 0 w 3361260"/>
              <a:gd name="connsiteY5" fmla="*/ 0 h 6013476"/>
              <a:gd name="connsiteX0" fmla="*/ 0 w 3362116"/>
              <a:gd name="connsiteY0" fmla="*/ 0 h 6013476"/>
              <a:gd name="connsiteX1" fmla="*/ 3357005 w 3362116"/>
              <a:gd name="connsiteY1" fmla="*/ 0 h 6013476"/>
              <a:gd name="connsiteX2" fmla="*/ 3361260 w 3362116"/>
              <a:gd name="connsiteY2" fmla="*/ 4270475 h 6013476"/>
              <a:gd name="connsiteX3" fmla="*/ 2327033 w 3362116"/>
              <a:gd name="connsiteY3" fmla="*/ 6005841 h 6013476"/>
              <a:gd name="connsiteX4" fmla="*/ 0 w 3362116"/>
              <a:gd name="connsiteY4" fmla="*/ 6013476 h 6013476"/>
              <a:gd name="connsiteX5" fmla="*/ 0 w 3362116"/>
              <a:gd name="connsiteY5" fmla="*/ 0 h 6013476"/>
              <a:gd name="connsiteX0" fmla="*/ 0 w 3377233"/>
              <a:gd name="connsiteY0" fmla="*/ 0 h 6013476"/>
              <a:gd name="connsiteX1" fmla="*/ 3357005 w 3377233"/>
              <a:gd name="connsiteY1" fmla="*/ 0 h 6013476"/>
              <a:gd name="connsiteX2" fmla="*/ 3376500 w 3377233"/>
              <a:gd name="connsiteY2" fmla="*/ 4293335 h 6013476"/>
              <a:gd name="connsiteX3" fmla="*/ 2327033 w 3377233"/>
              <a:gd name="connsiteY3" fmla="*/ 6005841 h 6013476"/>
              <a:gd name="connsiteX4" fmla="*/ 0 w 3377233"/>
              <a:gd name="connsiteY4" fmla="*/ 6013476 h 6013476"/>
              <a:gd name="connsiteX5" fmla="*/ 0 w 3377233"/>
              <a:gd name="connsiteY5" fmla="*/ 0 h 6013476"/>
              <a:gd name="connsiteX0" fmla="*/ 0 w 3362116"/>
              <a:gd name="connsiteY0" fmla="*/ 0 h 6013476"/>
              <a:gd name="connsiteX1" fmla="*/ 3357005 w 3362116"/>
              <a:gd name="connsiteY1" fmla="*/ 0 h 6013476"/>
              <a:gd name="connsiteX2" fmla="*/ 3361260 w 3362116"/>
              <a:gd name="connsiteY2" fmla="*/ 4293335 h 6013476"/>
              <a:gd name="connsiteX3" fmla="*/ 2327033 w 3362116"/>
              <a:gd name="connsiteY3" fmla="*/ 6005841 h 6013476"/>
              <a:gd name="connsiteX4" fmla="*/ 0 w 3362116"/>
              <a:gd name="connsiteY4" fmla="*/ 6013476 h 6013476"/>
              <a:gd name="connsiteX5" fmla="*/ 0 w 3362116"/>
              <a:gd name="connsiteY5" fmla="*/ 0 h 6013476"/>
              <a:gd name="connsiteX0" fmla="*/ 0 w 3369671"/>
              <a:gd name="connsiteY0" fmla="*/ 0 h 6013476"/>
              <a:gd name="connsiteX1" fmla="*/ 3357005 w 3369671"/>
              <a:gd name="connsiteY1" fmla="*/ 0 h 6013476"/>
              <a:gd name="connsiteX2" fmla="*/ 3368880 w 3369671"/>
              <a:gd name="connsiteY2" fmla="*/ 4293335 h 6013476"/>
              <a:gd name="connsiteX3" fmla="*/ 2327033 w 3369671"/>
              <a:gd name="connsiteY3" fmla="*/ 6005841 h 6013476"/>
              <a:gd name="connsiteX4" fmla="*/ 0 w 3369671"/>
              <a:gd name="connsiteY4" fmla="*/ 6013476 h 6013476"/>
              <a:gd name="connsiteX5" fmla="*/ 0 w 3369671"/>
              <a:gd name="connsiteY5" fmla="*/ 0 h 6013476"/>
              <a:gd name="connsiteX0" fmla="*/ 0 w 3369671"/>
              <a:gd name="connsiteY0" fmla="*/ 0 h 6013476"/>
              <a:gd name="connsiteX1" fmla="*/ 3357005 w 3369671"/>
              <a:gd name="connsiteY1" fmla="*/ 0 h 6013476"/>
              <a:gd name="connsiteX2" fmla="*/ 3368880 w 3369671"/>
              <a:gd name="connsiteY2" fmla="*/ 4293335 h 6013476"/>
              <a:gd name="connsiteX3" fmla="*/ 2327033 w 3369671"/>
              <a:gd name="connsiteY3" fmla="*/ 6005841 h 6013476"/>
              <a:gd name="connsiteX4" fmla="*/ 0 w 3369671"/>
              <a:gd name="connsiteY4" fmla="*/ 6013476 h 6013476"/>
              <a:gd name="connsiteX5" fmla="*/ 0 w 3369671"/>
              <a:gd name="connsiteY5" fmla="*/ 0 h 6013476"/>
              <a:gd name="connsiteX0" fmla="*/ 0 w 3369671"/>
              <a:gd name="connsiteY0" fmla="*/ 0 h 6013476"/>
              <a:gd name="connsiteX1" fmla="*/ 3357005 w 3369671"/>
              <a:gd name="connsiteY1" fmla="*/ 0 h 6013476"/>
              <a:gd name="connsiteX2" fmla="*/ 3368880 w 3369671"/>
              <a:gd name="connsiteY2" fmla="*/ 4293335 h 6013476"/>
              <a:gd name="connsiteX3" fmla="*/ 2327033 w 3369671"/>
              <a:gd name="connsiteY3" fmla="*/ 6005841 h 6013476"/>
              <a:gd name="connsiteX4" fmla="*/ 0 w 3369671"/>
              <a:gd name="connsiteY4" fmla="*/ 6013476 h 6013476"/>
              <a:gd name="connsiteX5" fmla="*/ 0 w 3369671"/>
              <a:gd name="connsiteY5" fmla="*/ 0 h 6013476"/>
              <a:gd name="connsiteX0" fmla="*/ 0 w 3369671"/>
              <a:gd name="connsiteY0" fmla="*/ 0 h 6013476"/>
              <a:gd name="connsiteX1" fmla="*/ 3357005 w 3369671"/>
              <a:gd name="connsiteY1" fmla="*/ 0 h 6013476"/>
              <a:gd name="connsiteX2" fmla="*/ 3368880 w 3369671"/>
              <a:gd name="connsiteY2" fmla="*/ 4293335 h 6013476"/>
              <a:gd name="connsiteX3" fmla="*/ 2327033 w 3369671"/>
              <a:gd name="connsiteY3" fmla="*/ 6005841 h 6013476"/>
              <a:gd name="connsiteX4" fmla="*/ 0 w 3369671"/>
              <a:gd name="connsiteY4" fmla="*/ 6013476 h 6013476"/>
              <a:gd name="connsiteX5" fmla="*/ 0 w 3369671"/>
              <a:gd name="connsiteY5" fmla="*/ 0 h 6013476"/>
              <a:gd name="connsiteX0" fmla="*/ 0 w 3369671"/>
              <a:gd name="connsiteY0" fmla="*/ 0 h 6013476"/>
              <a:gd name="connsiteX1" fmla="*/ 3357005 w 3369671"/>
              <a:gd name="connsiteY1" fmla="*/ 0 h 6013476"/>
              <a:gd name="connsiteX2" fmla="*/ 3368880 w 3369671"/>
              <a:gd name="connsiteY2" fmla="*/ 4293335 h 6013476"/>
              <a:gd name="connsiteX3" fmla="*/ 2327033 w 3369671"/>
              <a:gd name="connsiteY3" fmla="*/ 6005841 h 6013476"/>
              <a:gd name="connsiteX4" fmla="*/ 0 w 3369671"/>
              <a:gd name="connsiteY4" fmla="*/ 6013476 h 6013476"/>
              <a:gd name="connsiteX5" fmla="*/ 0 w 3369671"/>
              <a:gd name="connsiteY5" fmla="*/ 0 h 6013476"/>
              <a:gd name="connsiteX0" fmla="*/ 0 w 3374396"/>
              <a:gd name="connsiteY0" fmla="*/ 0 h 6013476"/>
              <a:gd name="connsiteX1" fmla="*/ 3357005 w 3374396"/>
              <a:gd name="connsiteY1" fmla="*/ 0 h 6013476"/>
              <a:gd name="connsiteX2" fmla="*/ 3373642 w 3374396"/>
              <a:gd name="connsiteY2" fmla="*/ 4231422 h 6013476"/>
              <a:gd name="connsiteX3" fmla="*/ 2327033 w 3374396"/>
              <a:gd name="connsiteY3" fmla="*/ 6005841 h 6013476"/>
              <a:gd name="connsiteX4" fmla="*/ 0 w 3374396"/>
              <a:gd name="connsiteY4" fmla="*/ 6013476 h 6013476"/>
              <a:gd name="connsiteX5" fmla="*/ 0 w 3374396"/>
              <a:gd name="connsiteY5" fmla="*/ 0 h 6013476"/>
              <a:gd name="connsiteX0" fmla="*/ 0 w 3379124"/>
              <a:gd name="connsiteY0" fmla="*/ 0 h 6013476"/>
              <a:gd name="connsiteX1" fmla="*/ 3357005 w 3379124"/>
              <a:gd name="connsiteY1" fmla="*/ 0 h 6013476"/>
              <a:gd name="connsiteX2" fmla="*/ 3378404 w 3379124"/>
              <a:gd name="connsiteY2" fmla="*/ 4188560 h 6013476"/>
              <a:gd name="connsiteX3" fmla="*/ 2327033 w 3379124"/>
              <a:gd name="connsiteY3" fmla="*/ 6005841 h 6013476"/>
              <a:gd name="connsiteX4" fmla="*/ 0 w 3379124"/>
              <a:gd name="connsiteY4" fmla="*/ 6013476 h 6013476"/>
              <a:gd name="connsiteX5" fmla="*/ 0 w 3379124"/>
              <a:gd name="connsiteY5" fmla="*/ 0 h 6013476"/>
              <a:gd name="connsiteX0" fmla="*/ 0 w 3379124"/>
              <a:gd name="connsiteY0" fmla="*/ 0 h 6013476"/>
              <a:gd name="connsiteX1" fmla="*/ 3357005 w 3379124"/>
              <a:gd name="connsiteY1" fmla="*/ 0 h 6013476"/>
              <a:gd name="connsiteX2" fmla="*/ 3378404 w 3379124"/>
              <a:gd name="connsiteY2" fmla="*/ 4188560 h 6013476"/>
              <a:gd name="connsiteX3" fmla="*/ 2327033 w 3379124"/>
              <a:gd name="connsiteY3" fmla="*/ 6005841 h 6013476"/>
              <a:gd name="connsiteX4" fmla="*/ 0 w 3379124"/>
              <a:gd name="connsiteY4" fmla="*/ 6013476 h 6013476"/>
              <a:gd name="connsiteX5" fmla="*/ 0 w 3379124"/>
              <a:gd name="connsiteY5" fmla="*/ 0 h 6013476"/>
              <a:gd name="connsiteX0" fmla="*/ 0 w 3379124"/>
              <a:gd name="connsiteY0" fmla="*/ 0 h 6013476"/>
              <a:gd name="connsiteX1" fmla="*/ 3357005 w 3379124"/>
              <a:gd name="connsiteY1" fmla="*/ 0 h 6013476"/>
              <a:gd name="connsiteX2" fmla="*/ 3378404 w 3379124"/>
              <a:gd name="connsiteY2" fmla="*/ 4188560 h 6013476"/>
              <a:gd name="connsiteX3" fmla="*/ 2327033 w 3379124"/>
              <a:gd name="connsiteY3" fmla="*/ 6005841 h 6013476"/>
              <a:gd name="connsiteX4" fmla="*/ 0 w 3379124"/>
              <a:gd name="connsiteY4" fmla="*/ 6013476 h 6013476"/>
              <a:gd name="connsiteX5" fmla="*/ 0 w 3379124"/>
              <a:gd name="connsiteY5" fmla="*/ 0 h 6013476"/>
              <a:gd name="connsiteX0" fmla="*/ 0 w 3379124"/>
              <a:gd name="connsiteY0" fmla="*/ 0 h 6013476"/>
              <a:gd name="connsiteX1" fmla="*/ 3357005 w 3379124"/>
              <a:gd name="connsiteY1" fmla="*/ 0 h 6013476"/>
              <a:gd name="connsiteX2" fmla="*/ 3378404 w 3379124"/>
              <a:gd name="connsiteY2" fmla="*/ 4188560 h 6013476"/>
              <a:gd name="connsiteX3" fmla="*/ 2327033 w 3379124"/>
              <a:gd name="connsiteY3" fmla="*/ 6005841 h 6013476"/>
              <a:gd name="connsiteX4" fmla="*/ 0 w 3379124"/>
              <a:gd name="connsiteY4" fmla="*/ 6013476 h 6013476"/>
              <a:gd name="connsiteX5" fmla="*/ 0 w 3379124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188560 h 6013476"/>
              <a:gd name="connsiteX3" fmla="*/ 2327033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188560 h 6013476"/>
              <a:gd name="connsiteX3" fmla="*/ 2234330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76509"/>
              <a:gd name="connsiteY0" fmla="*/ 0 h 6013476"/>
              <a:gd name="connsiteX1" fmla="*/ 3376055 w 3376509"/>
              <a:gd name="connsiteY1" fmla="*/ 0 h 6013476"/>
              <a:gd name="connsiteX2" fmla="*/ 3285701 w 3376509"/>
              <a:gd name="connsiteY2" fmla="*/ 4213080 h 6013476"/>
              <a:gd name="connsiteX3" fmla="*/ 2234330 w 3376509"/>
              <a:gd name="connsiteY3" fmla="*/ 6005841 h 6013476"/>
              <a:gd name="connsiteX4" fmla="*/ 0 w 3376509"/>
              <a:gd name="connsiteY4" fmla="*/ 6013476 h 6013476"/>
              <a:gd name="connsiteX5" fmla="*/ 0 w 3376509"/>
              <a:gd name="connsiteY5" fmla="*/ 0 h 6013476"/>
              <a:gd name="connsiteX0" fmla="*/ 0 w 3384939"/>
              <a:gd name="connsiteY0" fmla="*/ 0 h 6013476"/>
              <a:gd name="connsiteX1" fmla="*/ 3376055 w 3384939"/>
              <a:gd name="connsiteY1" fmla="*/ 0 h 6013476"/>
              <a:gd name="connsiteX2" fmla="*/ 3384584 w 3384939"/>
              <a:gd name="connsiteY2" fmla="*/ 4194690 h 6013476"/>
              <a:gd name="connsiteX3" fmla="*/ 2234330 w 3384939"/>
              <a:gd name="connsiteY3" fmla="*/ 6005841 h 6013476"/>
              <a:gd name="connsiteX4" fmla="*/ 0 w 3384939"/>
              <a:gd name="connsiteY4" fmla="*/ 6013476 h 6013476"/>
              <a:gd name="connsiteX5" fmla="*/ 0 w 3384939"/>
              <a:gd name="connsiteY5" fmla="*/ 0 h 6013476"/>
              <a:gd name="connsiteX0" fmla="*/ 0 w 3384939"/>
              <a:gd name="connsiteY0" fmla="*/ 0 h 6013476"/>
              <a:gd name="connsiteX1" fmla="*/ 3376055 w 3384939"/>
              <a:gd name="connsiteY1" fmla="*/ 0 h 6013476"/>
              <a:gd name="connsiteX2" fmla="*/ 3384584 w 3384939"/>
              <a:gd name="connsiteY2" fmla="*/ 4194690 h 6013476"/>
              <a:gd name="connsiteX3" fmla="*/ 2234330 w 3384939"/>
              <a:gd name="connsiteY3" fmla="*/ 6005841 h 6013476"/>
              <a:gd name="connsiteX4" fmla="*/ 0 w 3384939"/>
              <a:gd name="connsiteY4" fmla="*/ 6013476 h 6013476"/>
              <a:gd name="connsiteX5" fmla="*/ 0 w 3384939"/>
              <a:gd name="connsiteY5" fmla="*/ 0 h 6013476"/>
              <a:gd name="connsiteX0" fmla="*/ 0 w 3384611"/>
              <a:gd name="connsiteY0" fmla="*/ 0 h 6013476"/>
              <a:gd name="connsiteX1" fmla="*/ 3376055 w 3384611"/>
              <a:gd name="connsiteY1" fmla="*/ 0 h 6013476"/>
              <a:gd name="connsiteX2" fmla="*/ 3384584 w 3384611"/>
              <a:gd name="connsiteY2" fmla="*/ 4194690 h 6013476"/>
              <a:gd name="connsiteX3" fmla="*/ 2234330 w 3384611"/>
              <a:gd name="connsiteY3" fmla="*/ 6005841 h 6013476"/>
              <a:gd name="connsiteX4" fmla="*/ 0 w 3384611"/>
              <a:gd name="connsiteY4" fmla="*/ 6013476 h 6013476"/>
              <a:gd name="connsiteX5" fmla="*/ 0 w 3384611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102741 h 6013476"/>
              <a:gd name="connsiteX3" fmla="*/ 2234330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102741 h 6013476"/>
              <a:gd name="connsiteX3" fmla="*/ 2234330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047572 h 6013476"/>
              <a:gd name="connsiteX3" fmla="*/ 2234330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047572 h 6013476"/>
              <a:gd name="connsiteX3" fmla="*/ 2234330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78827"/>
              <a:gd name="connsiteY0" fmla="*/ 0 h 6013476"/>
              <a:gd name="connsiteX1" fmla="*/ 3376055 w 3378827"/>
              <a:gd name="connsiteY1" fmla="*/ 0 h 6013476"/>
              <a:gd name="connsiteX2" fmla="*/ 3372224 w 3378827"/>
              <a:gd name="connsiteY2" fmla="*/ 4035312 h 6013476"/>
              <a:gd name="connsiteX3" fmla="*/ 2234330 w 3378827"/>
              <a:gd name="connsiteY3" fmla="*/ 6005841 h 6013476"/>
              <a:gd name="connsiteX4" fmla="*/ 0 w 3378827"/>
              <a:gd name="connsiteY4" fmla="*/ 6013476 h 6013476"/>
              <a:gd name="connsiteX5" fmla="*/ 0 w 3378827"/>
              <a:gd name="connsiteY5" fmla="*/ 0 h 6013476"/>
              <a:gd name="connsiteX0" fmla="*/ 0 w 3378827"/>
              <a:gd name="connsiteY0" fmla="*/ 0 h 6013476"/>
              <a:gd name="connsiteX1" fmla="*/ 3376055 w 3378827"/>
              <a:gd name="connsiteY1" fmla="*/ 0 h 6013476"/>
              <a:gd name="connsiteX2" fmla="*/ 3372224 w 3378827"/>
              <a:gd name="connsiteY2" fmla="*/ 4035312 h 6013476"/>
              <a:gd name="connsiteX3" fmla="*/ 2234330 w 3378827"/>
              <a:gd name="connsiteY3" fmla="*/ 6005841 h 6013476"/>
              <a:gd name="connsiteX4" fmla="*/ 0 w 3378827"/>
              <a:gd name="connsiteY4" fmla="*/ 6013476 h 6013476"/>
              <a:gd name="connsiteX5" fmla="*/ 0 w 3378827"/>
              <a:gd name="connsiteY5" fmla="*/ 0 h 6013476"/>
              <a:gd name="connsiteX0" fmla="*/ 0 w 3384612"/>
              <a:gd name="connsiteY0" fmla="*/ 0 h 6013476"/>
              <a:gd name="connsiteX1" fmla="*/ 3376055 w 3384612"/>
              <a:gd name="connsiteY1" fmla="*/ 0 h 6013476"/>
              <a:gd name="connsiteX2" fmla="*/ 3384585 w 3384612"/>
              <a:gd name="connsiteY2" fmla="*/ 3967882 h 6013476"/>
              <a:gd name="connsiteX3" fmla="*/ 2234330 w 3384612"/>
              <a:gd name="connsiteY3" fmla="*/ 6005841 h 6013476"/>
              <a:gd name="connsiteX4" fmla="*/ 0 w 3384612"/>
              <a:gd name="connsiteY4" fmla="*/ 6013476 h 6013476"/>
              <a:gd name="connsiteX5" fmla="*/ 0 w 3384612"/>
              <a:gd name="connsiteY5" fmla="*/ 0 h 6013476"/>
              <a:gd name="connsiteX0" fmla="*/ 0 w 3380371"/>
              <a:gd name="connsiteY0" fmla="*/ 0 h 6013476"/>
              <a:gd name="connsiteX1" fmla="*/ 3376055 w 3380371"/>
              <a:gd name="connsiteY1" fmla="*/ 0 h 6013476"/>
              <a:gd name="connsiteX2" fmla="*/ 3378405 w 3380371"/>
              <a:gd name="connsiteY2" fmla="*/ 3992402 h 6013476"/>
              <a:gd name="connsiteX3" fmla="*/ 2234330 w 3380371"/>
              <a:gd name="connsiteY3" fmla="*/ 6005841 h 6013476"/>
              <a:gd name="connsiteX4" fmla="*/ 0 w 3380371"/>
              <a:gd name="connsiteY4" fmla="*/ 6013476 h 6013476"/>
              <a:gd name="connsiteX5" fmla="*/ 0 w 3380371"/>
              <a:gd name="connsiteY5" fmla="*/ 0 h 6013476"/>
              <a:gd name="connsiteX0" fmla="*/ 0 w 3380371"/>
              <a:gd name="connsiteY0" fmla="*/ 0 h 6013476"/>
              <a:gd name="connsiteX1" fmla="*/ 3376055 w 3380371"/>
              <a:gd name="connsiteY1" fmla="*/ 0 h 6013476"/>
              <a:gd name="connsiteX2" fmla="*/ 3378405 w 3380371"/>
              <a:gd name="connsiteY2" fmla="*/ 3992402 h 6013476"/>
              <a:gd name="connsiteX3" fmla="*/ 1755116 w 3380371"/>
              <a:gd name="connsiteY3" fmla="*/ 6010439 h 6013476"/>
              <a:gd name="connsiteX4" fmla="*/ 0 w 3380371"/>
              <a:gd name="connsiteY4" fmla="*/ 6013476 h 6013476"/>
              <a:gd name="connsiteX5" fmla="*/ 0 w 3380371"/>
              <a:gd name="connsiteY5" fmla="*/ 0 h 6013476"/>
              <a:gd name="connsiteX0" fmla="*/ 0 w 3380371"/>
              <a:gd name="connsiteY0" fmla="*/ 0 h 6013476"/>
              <a:gd name="connsiteX1" fmla="*/ 3376055 w 3380371"/>
              <a:gd name="connsiteY1" fmla="*/ 0 h 6013476"/>
              <a:gd name="connsiteX2" fmla="*/ 3378405 w 3380371"/>
              <a:gd name="connsiteY2" fmla="*/ 3992402 h 6013476"/>
              <a:gd name="connsiteX3" fmla="*/ 1830781 w 3380371"/>
              <a:gd name="connsiteY3" fmla="*/ 6010439 h 6013476"/>
              <a:gd name="connsiteX4" fmla="*/ 0 w 3380371"/>
              <a:gd name="connsiteY4" fmla="*/ 6013476 h 6013476"/>
              <a:gd name="connsiteX5" fmla="*/ 0 w 3380371"/>
              <a:gd name="connsiteY5" fmla="*/ 0 h 6013476"/>
              <a:gd name="connsiteX0" fmla="*/ 0 w 3380371"/>
              <a:gd name="connsiteY0" fmla="*/ 0 h 6013476"/>
              <a:gd name="connsiteX1" fmla="*/ 3376055 w 3380371"/>
              <a:gd name="connsiteY1" fmla="*/ 0 h 6013476"/>
              <a:gd name="connsiteX2" fmla="*/ 3378405 w 3380371"/>
              <a:gd name="connsiteY2" fmla="*/ 4088949 h 6013476"/>
              <a:gd name="connsiteX3" fmla="*/ 1830781 w 3380371"/>
              <a:gd name="connsiteY3" fmla="*/ 6010439 h 6013476"/>
              <a:gd name="connsiteX4" fmla="*/ 0 w 3380371"/>
              <a:gd name="connsiteY4" fmla="*/ 6013476 h 6013476"/>
              <a:gd name="connsiteX5" fmla="*/ 0 w 3380371"/>
              <a:gd name="connsiteY5" fmla="*/ 0 h 6013476"/>
              <a:gd name="connsiteX0" fmla="*/ 0 w 3378807"/>
              <a:gd name="connsiteY0" fmla="*/ 0 h 6013476"/>
              <a:gd name="connsiteX1" fmla="*/ 3376055 w 3378807"/>
              <a:gd name="connsiteY1" fmla="*/ 0 h 6013476"/>
              <a:gd name="connsiteX2" fmla="*/ 3372100 w 3378807"/>
              <a:gd name="connsiteY2" fmla="*/ 4047572 h 6013476"/>
              <a:gd name="connsiteX3" fmla="*/ 1830781 w 3378807"/>
              <a:gd name="connsiteY3" fmla="*/ 6010439 h 6013476"/>
              <a:gd name="connsiteX4" fmla="*/ 0 w 3378807"/>
              <a:gd name="connsiteY4" fmla="*/ 6013476 h 6013476"/>
              <a:gd name="connsiteX5" fmla="*/ 0 w 3378807"/>
              <a:gd name="connsiteY5" fmla="*/ 0 h 6013476"/>
              <a:gd name="connsiteX0" fmla="*/ 0 w 3378068"/>
              <a:gd name="connsiteY0" fmla="*/ 0 h 6013476"/>
              <a:gd name="connsiteX1" fmla="*/ 3376055 w 3378068"/>
              <a:gd name="connsiteY1" fmla="*/ 0 h 6013476"/>
              <a:gd name="connsiteX2" fmla="*/ 3365794 w 3378068"/>
              <a:gd name="connsiteY2" fmla="*/ 4038377 h 6013476"/>
              <a:gd name="connsiteX3" fmla="*/ 1830781 w 3378068"/>
              <a:gd name="connsiteY3" fmla="*/ 6010439 h 6013476"/>
              <a:gd name="connsiteX4" fmla="*/ 0 w 3378068"/>
              <a:gd name="connsiteY4" fmla="*/ 6013476 h 6013476"/>
              <a:gd name="connsiteX5" fmla="*/ 0 w 3378068"/>
              <a:gd name="connsiteY5" fmla="*/ 0 h 6013476"/>
              <a:gd name="connsiteX0" fmla="*/ 0 w 3378068"/>
              <a:gd name="connsiteY0" fmla="*/ 0 h 6013476"/>
              <a:gd name="connsiteX1" fmla="*/ 3376055 w 3378068"/>
              <a:gd name="connsiteY1" fmla="*/ 0 h 6013476"/>
              <a:gd name="connsiteX2" fmla="*/ 3365795 w 3378068"/>
              <a:gd name="connsiteY2" fmla="*/ 4024584 h 6013476"/>
              <a:gd name="connsiteX3" fmla="*/ 1830781 w 3378068"/>
              <a:gd name="connsiteY3" fmla="*/ 6010439 h 6013476"/>
              <a:gd name="connsiteX4" fmla="*/ 0 w 3378068"/>
              <a:gd name="connsiteY4" fmla="*/ 6013476 h 6013476"/>
              <a:gd name="connsiteX5" fmla="*/ 0 w 3378068"/>
              <a:gd name="connsiteY5" fmla="*/ 0 h 6013476"/>
              <a:gd name="connsiteX0" fmla="*/ 0 w 3378068"/>
              <a:gd name="connsiteY0" fmla="*/ 0 h 6013476"/>
              <a:gd name="connsiteX1" fmla="*/ 3376055 w 3378068"/>
              <a:gd name="connsiteY1" fmla="*/ 0 h 6013476"/>
              <a:gd name="connsiteX2" fmla="*/ 3365795 w 3378068"/>
              <a:gd name="connsiteY2" fmla="*/ 3768227 h 6013476"/>
              <a:gd name="connsiteX3" fmla="*/ 1830781 w 3378068"/>
              <a:gd name="connsiteY3" fmla="*/ 6010439 h 6013476"/>
              <a:gd name="connsiteX4" fmla="*/ 0 w 3378068"/>
              <a:gd name="connsiteY4" fmla="*/ 6013476 h 6013476"/>
              <a:gd name="connsiteX5" fmla="*/ 0 w 3378068"/>
              <a:gd name="connsiteY5" fmla="*/ 0 h 6013476"/>
              <a:gd name="connsiteX0" fmla="*/ 0 w 3378068"/>
              <a:gd name="connsiteY0" fmla="*/ 0 h 6013476"/>
              <a:gd name="connsiteX1" fmla="*/ 3376055 w 3378068"/>
              <a:gd name="connsiteY1" fmla="*/ 0 h 6013476"/>
              <a:gd name="connsiteX2" fmla="*/ 3365795 w 3378068"/>
              <a:gd name="connsiteY2" fmla="*/ 3727750 h 6013476"/>
              <a:gd name="connsiteX3" fmla="*/ 1830781 w 3378068"/>
              <a:gd name="connsiteY3" fmla="*/ 6010439 h 6013476"/>
              <a:gd name="connsiteX4" fmla="*/ 0 w 3378068"/>
              <a:gd name="connsiteY4" fmla="*/ 6013476 h 6013476"/>
              <a:gd name="connsiteX5" fmla="*/ 0 w 3378068"/>
              <a:gd name="connsiteY5" fmla="*/ 0 h 6013476"/>
              <a:gd name="connsiteX0" fmla="*/ 0 w 3378068"/>
              <a:gd name="connsiteY0" fmla="*/ 0 h 6013476"/>
              <a:gd name="connsiteX1" fmla="*/ 3376055 w 3378068"/>
              <a:gd name="connsiteY1" fmla="*/ 0 h 6013476"/>
              <a:gd name="connsiteX2" fmla="*/ 3365795 w 3378068"/>
              <a:gd name="connsiteY2" fmla="*/ 3673780 h 6013476"/>
              <a:gd name="connsiteX3" fmla="*/ 1830781 w 3378068"/>
              <a:gd name="connsiteY3" fmla="*/ 6010439 h 6013476"/>
              <a:gd name="connsiteX4" fmla="*/ 0 w 3378068"/>
              <a:gd name="connsiteY4" fmla="*/ 6013476 h 6013476"/>
              <a:gd name="connsiteX5" fmla="*/ 0 w 3378068"/>
              <a:gd name="connsiteY5" fmla="*/ 0 h 601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78068" h="6013476">
                <a:moveTo>
                  <a:pt x="0" y="0"/>
                </a:moveTo>
                <a:lnTo>
                  <a:pt x="3376055" y="0"/>
                </a:lnTo>
                <a:cubicBezTo>
                  <a:pt x="3383972" y="1826362"/>
                  <a:pt x="3366007" y="2927663"/>
                  <a:pt x="3365795" y="3673780"/>
                </a:cubicBezTo>
                <a:lnTo>
                  <a:pt x="1830781" y="6010439"/>
                </a:lnTo>
                <a:lnTo>
                  <a:pt x="0" y="601347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360000" tIns="360000" rIns="360000" bIns="360000">
            <a:noAutofit/>
          </a:bodyPr>
          <a:lstStyle>
            <a:lvl1pPr marL="358775" indent="-358775">
              <a:buClr>
                <a:schemeClr val="tx1"/>
              </a:buClr>
              <a:buFont typeface="Wingdings" panose="05000000000000000000" pitchFamily="2" charset="2"/>
              <a:buChar char="§"/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tx1"/>
              </a:buClr>
              <a:buFont typeface="Arial" panose="020B0604020202020204" pitchFamily="34" charset="0"/>
              <a:buChar char="•"/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Font typeface="Symbol" panose="05050102010706020507" pitchFamily="18" charset="2"/>
              <a:buChar char="-"/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CE593D40-A0F5-D148-4A3A-70F100CC3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3600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  <p15:guide id="7" pos="5654">
          <p15:clr>
            <a:srgbClr val="F26B43"/>
          </p15:clr>
        </p15:guide>
        <p15:guide id="8" pos="5473">
          <p15:clr>
            <a:srgbClr val="F26B43"/>
          </p15:clr>
        </p15:guide>
        <p15:guide id="9" pos="2207">
          <p15:clr>
            <a:srgbClr val="F26B43"/>
          </p15:clr>
        </p15:guide>
        <p15:guide id="10" pos="2026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ATIV// 4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36C795C0-27A8-F340-D726-953797397111}"/>
              </a:ext>
            </a:extLst>
          </p:cNvPr>
          <p:cNvSpPr/>
          <p:nvPr userDrawn="1"/>
        </p:nvSpPr>
        <p:spPr>
          <a:xfrm>
            <a:off x="-1" y="0"/>
            <a:ext cx="11103429" cy="102127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790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2AC76D0E-2E74-40A1-90B8-A4BCCDCE6C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038" y="115888"/>
            <a:ext cx="2545455" cy="6229350"/>
          </a:xfrm>
          <a:prstGeom prst="rect">
            <a:avLst/>
          </a:prstGeom>
          <a:solidFill>
            <a:schemeClr val="tx1"/>
          </a:solidFill>
        </p:spPr>
        <p:txBody>
          <a:bodyPr wrap="square" lIns="180000" tIns="360000" rIns="180000" bIns="360000">
            <a:noAutofit/>
          </a:bodyPr>
          <a:lstStyle>
            <a:lvl1pPr marL="358775" indent="-358775">
              <a:buFont typeface="Wingdings" panose="05000000000000000000" pitchFamily="2" charset="2"/>
              <a:buChar char="§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Font typeface="Arial" panose="020B0604020202020204" pitchFamily="34" charset="0"/>
              <a:buChar char="•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Font typeface="Symbol" panose="05050102010706020507" pitchFamily="18" charset="2"/>
              <a:buChar char="-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99A7C70-A183-4EE4-A764-684D3950B6C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27661" y="115888"/>
            <a:ext cx="2545456" cy="6229350"/>
          </a:xfrm>
          <a:prstGeom prst="rect">
            <a:avLst/>
          </a:prstGeom>
          <a:solidFill>
            <a:schemeClr val="tx2"/>
          </a:solidFill>
        </p:spPr>
        <p:txBody>
          <a:bodyPr wrap="square" lIns="180000" tIns="360000" rIns="180000" bIns="360000">
            <a:noAutofit/>
          </a:bodyPr>
          <a:lstStyle>
            <a:lvl1pPr marL="358775" indent="-358775">
              <a:buClr>
                <a:schemeClr val="bg1"/>
              </a:buClr>
              <a:buFont typeface="Wingdings" panose="05000000000000000000" pitchFamily="2" charset="2"/>
              <a:buChar char="§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bg1"/>
              </a:buClr>
              <a:buFont typeface="Arial" panose="020B0604020202020204" pitchFamily="34" charset="0"/>
              <a:buChar char="•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Clr>
                <a:schemeClr val="bg1"/>
              </a:buClr>
              <a:buFont typeface="Symbol" panose="05050102010706020507" pitchFamily="18" charset="2"/>
              <a:buChar char="-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691582" y="4745837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styles</a:t>
            </a:r>
            <a:endParaRPr lang="de-DE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71A3D910-AF8D-4A10-93AD-2A155C4B53D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755285" y="115888"/>
            <a:ext cx="2545455" cy="6229350"/>
          </a:xfrm>
          <a:prstGeom prst="rect">
            <a:avLst/>
          </a:prstGeom>
          <a:solidFill>
            <a:schemeClr val="accent5"/>
          </a:solidFill>
        </p:spPr>
        <p:txBody>
          <a:bodyPr wrap="square" lIns="180000" tIns="360000" rIns="180000" bIns="360000">
            <a:noAutofit/>
          </a:bodyPr>
          <a:lstStyle>
            <a:lvl1pPr marL="285750" indent="-285750">
              <a:buClr>
                <a:schemeClr val="tx1"/>
              </a:buClr>
              <a:buFont typeface="Wingdings" panose="05000000000000000000" pitchFamily="2" charset="2"/>
              <a:buChar char="§"/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tx1"/>
              </a:buClr>
              <a:buFont typeface="Arial" panose="020B0604020202020204" pitchFamily="34" charset="0"/>
              <a:buChar char="•"/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Clr>
                <a:schemeClr val="bg1"/>
              </a:buClr>
              <a:buFont typeface="Symbol" panose="05050102010706020507" pitchFamily="18" charset="2"/>
              <a:buChar char="-"/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Picture Placeholder 63">
            <a:extLst>
              <a:ext uri="{FF2B5EF4-FFF2-40B4-BE49-F238E27FC236}">
                <a16:creationId xmlns:a16="http://schemas.microsoft.com/office/drawing/2014/main" id="{7D241DC8-F494-FC1B-3D90-19BD2D502AC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 flipH="1">
            <a:off x="9820894" y="2648197"/>
            <a:ext cx="2371106" cy="4209803"/>
          </a:xfrm>
          <a:prstGeom prst="rtTriangle">
            <a:avLst/>
          </a:pr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5" name="Text Placeholder 55">
            <a:extLst>
              <a:ext uri="{FF2B5EF4-FFF2-40B4-BE49-F238E27FC236}">
                <a16:creationId xmlns:a16="http://schemas.microsoft.com/office/drawing/2014/main" id="{8A71F448-C1ED-74D6-F156-9F739A543C1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75168" y="115888"/>
            <a:ext cx="2551455" cy="6229350"/>
          </a:xfrm>
          <a:custGeom>
            <a:avLst/>
            <a:gdLst>
              <a:gd name="connsiteX0" fmla="*/ 0 w 3357005"/>
              <a:gd name="connsiteY0" fmla="*/ 0 h 6013476"/>
              <a:gd name="connsiteX1" fmla="*/ 3357005 w 3357005"/>
              <a:gd name="connsiteY1" fmla="*/ 0 h 6013476"/>
              <a:gd name="connsiteX2" fmla="*/ 3357005 w 3357005"/>
              <a:gd name="connsiteY2" fmla="*/ 6013476 h 6013476"/>
              <a:gd name="connsiteX3" fmla="*/ 0 w 3357005"/>
              <a:gd name="connsiteY3" fmla="*/ 6013476 h 6013476"/>
              <a:gd name="connsiteX4" fmla="*/ 0 w 3357005"/>
              <a:gd name="connsiteY4" fmla="*/ 0 h 6013476"/>
              <a:gd name="connsiteX0" fmla="*/ 0 w 3357005"/>
              <a:gd name="connsiteY0" fmla="*/ 0 h 6013476"/>
              <a:gd name="connsiteX1" fmla="*/ 3357005 w 3357005"/>
              <a:gd name="connsiteY1" fmla="*/ 0 h 6013476"/>
              <a:gd name="connsiteX2" fmla="*/ 3357005 w 3357005"/>
              <a:gd name="connsiteY2" fmla="*/ 6013476 h 6013476"/>
              <a:gd name="connsiteX3" fmla="*/ 2327033 w 3357005"/>
              <a:gd name="connsiteY3" fmla="*/ 6005841 h 6013476"/>
              <a:gd name="connsiteX4" fmla="*/ 0 w 3357005"/>
              <a:gd name="connsiteY4" fmla="*/ 6013476 h 6013476"/>
              <a:gd name="connsiteX5" fmla="*/ 0 w 3357005"/>
              <a:gd name="connsiteY5" fmla="*/ 0 h 6013476"/>
              <a:gd name="connsiteX0" fmla="*/ 0 w 3357005"/>
              <a:gd name="connsiteY0" fmla="*/ 0 h 6013476"/>
              <a:gd name="connsiteX1" fmla="*/ 3357005 w 3357005"/>
              <a:gd name="connsiteY1" fmla="*/ 0 h 6013476"/>
              <a:gd name="connsiteX2" fmla="*/ 3357005 w 3357005"/>
              <a:gd name="connsiteY2" fmla="*/ 6013476 h 6013476"/>
              <a:gd name="connsiteX3" fmla="*/ 2327033 w 3357005"/>
              <a:gd name="connsiteY3" fmla="*/ 6005841 h 6013476"/>
              <a:gd name="connsiteX4" fmla="*/ 0 w 3357005"/>
              <a:gd name="connsiteY4" fmla="*/ 6013476 h 6013476"/>
              <a:gd name="connsiteX5" fmla="*/ 0 w 3357005"/>
              <a:gd name="connsiteY5" fmla="*/ 0 h 6013476"/>
              <a:gd name="connsiteX0" fmla="*/ 0 w 3380755"/>
              <a:gd name="connsiteY0" fmla="*/ 0 h 6013476"/>
              <a:gd name="connsiteX1" fmla="*/ 3357005 w 3380755"/>
              <a:gd name="connsiteY1" fmla="*/ 0 h 6013476"/>
              <a:gd name="connsiteX2" fmla="*/ 3380755 w 3380755"/>
              <a:gd name="connsiteY2" fmla="*/ 5479087 h 6013476"/>
              <a:gd name="connsiteX3" fmla="*/ 2327033 w 3380755"/>
              <a:gd name="connsiteY3" fmla="*/ 6005841 h 6013476"/>
              <a:gd name="connsiteX4" fmla="*/ 0 w 3380755"/>
              <a:gd name="connsiteY4" fmla="*/ 6013476 h 6013476"/>
              <a:gd name="connsiteX5" fmla="*/ 0 w 3380755"/>
              <a:gd name="connsiteY5" fmla="*/ 0 h 6013476"/>
              <a:gd name="connsiteX0" fmla="*/ 0 w 3380755"/>
              <a:gd name="connsiteY0" fmla="*/ 0 h 6013476"/>
              <a:gd name="connsiteX1" fmla="*/ 3357005 w 3380755"/>
              <a:gd name="connsiteY1" fmla="*/ 0 h 6013476"/>
              <a:gd name="connsiteX2" fmla="*/ 3380755 w 3380755"/>
              <a:gd name="connsiteY2" fmla="*/ 5479087 h 6013476"/>
              <a:gd name="connsiteX3" fmla="*/ 2327033 w 3380755"/>
              <a:gd name="connsiteY3" fmla="*/ 6005841 h 6013476"/>
              <a:gd name="connsiteX4" fmla="*/ 0 w 3380755"/>
              <a:gd name="connsiteY4" fmla="*/ 6013476 h 6013476"/>
              <a:gd name="connsiteX5" fmla="*/ 0 w 3380755"/>
              <a:gd name="connsiteY5" fmla="*/ 0 h 6013476"/>
              <a:gd name="connsiteX0" fmla="*/ 0 w 3368880"/>
              <a:gd name="connsiteY0" fmla="*/ 0 h 6013476"/>
              <a:gd name="connsiteX1" fmla="*/ 3357005 w 3368880"/>
              <a:gd name="connsiteY1" fmla="*/ 0 h 6013476"/>
              <a:gd name="connsiteX2" fmla="*/ 3368880 w 3368880"/>
              <a:gd name="connsiteY2" fmla="*/ 4529061 h 6013476"/>
              <a:gd name="connsiteX3" fmla="*/ 2327033 w 3368880"/>
              <a:gd name="connsiteY3" fmla="*/ 6005841 h 6013476"/>
              <a:gd name="connsiteX4" fmla="*/ 0 w 3368880"/>
              <a:gd name="connsiteY4" fmla="*/ 6013476 h 6013476"/>
              <a:gd name="connsiteX5" fmla="*/ 0 w 3368880"/>
              <a:gd name="connsiteY5" fmla="*/ 0 h 6013476"/>
              <a:gd name="connsiteX0" fmla="*/ 0 w 3368880"/>
              <a:gd name="connsiteY0" fmla="*/ 0 h 6013476"/>
              <a:gd name="connsiteX1" fmla="*/ 3357005 w 3368880"/>
              <a:gd name="connsiteY1" fmla="*/ 0 h 6013476"/>
              <a:gd name="connsiteX2" fmla="*/ 3368880 w 3368880"/>
              <a:gd name="connsiteY2" fmla="*/ 4529061 h 6013476"/>
              <a:gd name="connsiteX3" fmla="*/ 2327033 w 3368880"/>
              <a:gd name="connsiteY3" fmla="*/ 6005841 h 6013476"/>
              <a:gd name="connsiteX4" fmla="*/ 0 w 3368880"/>
              <a:gd name="connsiteY4" fmla="*/ 6013476 h 6013476"/>
              <a:gd name="connsiteX5" fmla="*/ 0 w 3368880"/>
              <a:gd name="connsiteY5" fmla="*/ 0 h 6013476"/>
              <a:gd name="connsiteX0" fmla="*/ 0 w 3368880"/>
              <a:gd name="connsiteY0" fmla="*/ 0 h 6013476"/>
              <a:gd name="connsiteX1" fmla="*/ 3357005 w 3368880"/>
              <a:gd name="connsiteY1" fmla="*/ 0 h 6013476"/>
              <a:gd name="connsiteX2" fmla="*/ 3368880 w 3368880"/>
              <a:gd name="connsiteY2" fmla="*/ 4339055 h 6013476"/>
              <a:gd name="connsiteX3" fmla="*/ 2327033 w 3368880"/>
              <a:gd name="connsiteY3" fmla="*/ 6005841 h 6013476"/>
              <a:gd name="connsiteX4" fmla="*/ 0 w 3368880"/>
              <a:gd name="connsiteY4" fmla="*/ 6013476 h 6013476"/>
              <a:gd name="connsiteX5" fmla="*/ 0 w 3368880"/>
              <a:gd name="connsiteY5" fmla="*/ 0 h 6013476"/>
              <a:gd name="connsiteX0" fmla="*/ 0 w 3368880"/>
              <a:gd name="connsiteY0" fmla="*/ 0 h 6013476"/>
              <a:gd name="connsiteX1" fmla="*/ 3357005 w 3368880"/>
              <a:gd name="connsiteY1" fmla="*/ 0 h 6013476"/>
              <a:gd name="connsiteX2" fmla="*/ 3368880 w 3368880"/>
              <a:gd name="connsiteY2" fmla="*/ 4339055 h 6013476"/>
              <a:gd name="connsiteX3" fmla="*/ 2327033 w 3368880"/>
              <a:gd name="connsiteY3" fmla="*/ 6005841 h 6013476"/>
              <a:gd name="connsiteX4" fmla="*/ 0 w 3368880"/>
              <a:gd name="connsiteY4" fmla="*/ 6013476 h 6013476"/>
              <a:gd name="connsiteX5" fmla="*/ 0 w 3368880"/>
              <a:gd name="connsiteY5" fmla="*/ 0 h 6013476"/>
              <a:gd name="connsiteX0" fmla="*/ 0 w 3361260"/>
              <a:gd name="connsiteY0" fmla="*/ 0 h 6013476"/>
              <a:gd name="connsiteX1" fmla="*/ 3357005 w 3361260"/>
              <a:gd name="connsiteY1" fmla="*/ 0 h 6013476"/>
              <a:gd name="connsiteX2" fmla="*/ 3361260 w 3361260"/>
              <a:gd name="connsiteY2" fmla="*/ 4270475 h 6013476"/>
              <a:gd name="connsiteX3" fmla="*/ 2327033 w 3361260"/>
              <a:gd name="connsiteY3" fmla="*/ 6005841 h 6013476"/>
              <a:gd name="connsiteX4" fmla="*/ 0 w 3361260"/>
              <a:gd name="connsiteY4" fmla="*/ 6013476 h 6013476"/>
              <a:gd name="connsiteX5" fmla="*/ 0 w 3361260"/>
              <a:gd name="connsiteY5" fmla="*/ 0 h 6013476"/>
              <a:gd name="connsiteX0" fmla="*/ 0 w 3361260"/>
              <a:gd name="connsiteY0" fmla="*/ 0 h 6013476"/>
              <a:gd name="connsiteX1" fmla="*/ 3357005 w 3361260"/>
              <a:gd name="connsiteY1" fmla="*/ 0 h 6013476"/>
              <a:gd name="connsiteX2" fmla="*/ 3361260 w 3361260"/>
              <a:gd name="connsiteY2" fmla="*/ 4270475 h 6013476"/>
              <a:gd name="connsiteX3" fmla="*/ 2327033 w 3361260"/>
              <a:gd name="connsiteY3" fmla="*/ 6005841 h 6013476"/>
              <a:gd name="connsiteX4" fmla="*/ 0 w 3361260"/>
              <a:gd name="connsiteY4" fmla="*/ 6013476 h 6013476"/>
              <a:gd name="connsiteX5" fmla="*/ 0 w 3361260"/>
              <a:gd name="connsiteY5" fmla="*/ 0 h 6013476"/>
              <a:gd name="connsiteX0" fmla="*/ 0 w 3362116"/>
              <a:gd name="connsiteY0" fmla="*/ 0 h 6013476"/>
              <a:gd name="connsiteX1" fmla="*/ 3357005 w 3362116"/>
              <a:gd name="connsiteY1" fmla="*/ 0 h 6013476"/>
              <a:gd name="connsiteX2" fmla="*/ 3361260 w 3362116"/>
              <a:gd name="connsiteY2" fmla="*/ 4270475 h 6013476"/>
              <a:gd name="connsiteX3" fmla="*/ 2327033 w 3362116"/>
              <a:gd name="connsiteY3" fmla="*/ 6005841 h 6013476"/>
              <a:gd name="connsiteX4" fmla="*/ 0 w 3362116"/>
              <a:gd name="connsiteY4" fmla="*/ 6013476 h 6013476"/>
              <a:gd name="connsiteX5" fmla="*/ 0 w 3362116"/>
              <a:gd name="connsiteY5" fmla="*/ 0 h 6013476"/>
              <a:gd name="connsiteX0" fmla="*/ 0 w 3377233"/>
              <a:gd name="connsiteY0" fmla="*/ 0 h 6013476"/>
              <a:gd name="connsiteX1" fmla="*/ 3357005 w 3377233"/>
              <a:gd name="connsiteY1" fmla="*/ 0 h 6013476"/>
              <a:gd name="connsiteX2" fmla="*/ 3376500 w 3377233"/>
              <a:gd name="connsiteY2" fmla="*/ 4293335 h 6013476"/>
              <a:gd name="connsiteX3" fmla="*/ 2327033 w 3377233"/>
              <a:gd name="connsiteY3" fmla="*/ 6005841 h 6013476"/>
              <a:gd name="connsiteX4" fmla="*/ 0 w 3377233"/>
              <a:gd name="connsiteY4" fmla="*/ 6013476 h 6013476"/>
              <a:gd name="connsiteX5" fmla="*/ 0 w 3377233"/>
              <a:gd name="connsiteY5" fmla="*/ 0 h 6013476"/>
              <a:gd name="connsiteX0" fmla="*/ 0 w 3362116"/>
              <a:gd name="connsiteY0" fmla="*/ 0 h 6013476"/>
              <a:gd name="connsiteX1" fmla="*/ 3357005 w 3362116"/>
              <a:gd name="connsiteY1" fmla="*/ 0 h 6013476"/>
              <a:gd name="connsiteX2" fmla="*/ 3361260 w 3362116"/>
              <a:gd name="connsiteY2" fmla="*/ 4293335 h 6013476"/>
              <a:gd name="connsiteX3" fmla="*/ 2327033 w 3362116"/>
              <a:gd name="connsiteY3" fmla="*/ 6005841 h 6013476"/>
              <a:gd name="connsiteX4" fmla="*/ 0 w 3362116"/>
              <a:gd name="connsiteY4" fmla="*/ 6013476 h 6013476"/>
              <a:gd name="connsiteX5" fmla="*/ 0 w 3362116"/>
              <a:gd name="connsiteY5" fmla="*/ 0 h 6013476"/>
              <a:gd name="connsiteX0" fmla="*/ 0 w 3369671"/>
              <a:gd name="connsiteY0" fmla="*/ 0 h 6013476"/>
              <a:gd name="connsiteX1" fmla="*/ 3357005 w 3369671"/>
              <a:gd name="connsiteY1" fmla="*/ 0 h 6013476"/>
              <a:gd name="connsiteX2" fmla="*/ 3368880 w 3369671"/>
              <a:gd name="connsiteY2" fmla="*/ 4293335 h 6013476"/>
              <a:gd name="connsiteX3" fmla="*/ 2327033 w 3369671"/>
              <a:gd name="connsiteY3" fmla="*/ 6005841 h 6013476"/>
              <a:gd name="connsiteX4" fmla="*/ 0 w 3369671"/>
              <a:gd name="connsiteY4" fmla="*/ 6013476 h 6013476"/>
              <a:gd name="connsiteX5" fmla="*/ 0 w 3369671"/>
              <a:gd name="connsiteY5" fmla="*/ 0 h 6013476"/>
              <a:gd name="connsiteX0" fmla="*/ 0 w 3369671"/>
              <a:gd name="connsiteY0" fmla="*/ 0 h 6013476"/>
              <a:gd name="connsiteX1" fmla="*/ 3357005 w 3369671"/>
              <a:gd name="connsiteY1" fmla="*/ 0 h 6013476"/>
              <a:gd name="connsiteX2" fmla="*/ 3368880 w 3369671"/>
              <a:gd name="connsiteY2" fmla="*/ 4293335 h 6013476"/>
              <a:gd name="connsiteX3" fmla="*/ 2327033 w 3369671"/>
              <a:gd name="connsiteY3" fmla="*/ 6005841 h 6013476"/>
              <a:gd name="connsiteX4" fmla="*/ 0 w 3369671"/>
              <a:gd name="connsiteY4" fmla="*/ 6013476 h 6013476"/>
              <a:gd name="connsiteX5" fmla="*/ 0 w 3369671"/>
              <a:gd name="connsiteY5" fmla="*/ 0 h 6013476"/>
              <a:gd name="connsiteX0" fmla="*/ 0 w 3369671"/>
              <a:gd name="connsiteY0" fmla="*/ 0 h 6013476"/>
              <a:gd name="connsiteX1" fmla="*/ 3357005 w 3369671"/>
              <a:gd name="connsiteY1" fmla="*/ 0 h 6013476"/>
              <a:gd name="connsiteX2" fmla="*/ 3368880 w 3369671"/>
              <a:gd name="connsiteY2" fmla="*/ 4293335 h 6013476"/>
              <a:gd name="connsiteX3" fmla="*/ 2327033 w 3369671"/>
              <a:gd name="connsiteY3" fmla="*/ 6005841 h 6013476"/>
              <a:gd name="connsiteX4" fmla="*/ 0 w 3369671"/>
              <a:gd name="connsiteY4" fmla="*/ 6013476 h 6013476"/>
              <a:gd name="connsiteX5" fmla="*/ 0 w 3369671"/>
              <a:gd name="connsiteY5" fmla="*/ 0 h 6013476"/>
              <a:gd name="connsiteX0" fmla="*/ 0 w 3369671"/>
              <a:gd name="connsiteY0" fmla="*/ 0 h 6013476"/>
              <a:gd name="connsiteX1" fmla="*/ 3357005 w 3369671"/>
              <a:gd name="connsiteY1" fmla="*/ 0 h 6013476"/>
              <a:gd name="connsiteX2" fmla="*/ 3368880 w 3369671"/>
              <a:gd name="connsiteY2" fmla="*/ 4293335 h 6013476"/>
              <a:gd name="connsiteX3" fmla="*/ 2327033 w 3369671"/>
              <a:gd name="connsiteY3" fmla="*/ 6005841 h 6013476"/>
              <a:gd name="connsiteX4" fmla="*/ 0 w 3369671"/>
              <a:gd name="connsiteY4" fmla="*/ 6013476 h 6013476"/>
              <a:gd name="connsiteX5" fmla="*/ 0 w 3369671"/>
              <a:gd name="connsiteY5" fmla="*/ 0 h 6013476"/>
              <a:gd name="connsiteX0" fmla="*/ 0 w 3369671"/>
              <a:gd name="connsiteY0" fmla="*/ 0 h 6013476"/>
              <a:gd name="connsiteX1" fmla="*/ 3357005 w 3369671"/>
              <a:gd name="connsiteY1" fmla="*/ 0 h 6013476"/>
              <a:gd name="connsiteX2" fmla="*/ 3368880 w 3369671"/>
              <a:gd name="connsiteY2" fmla="*/ 4293335 h 6013476"/>
              <a:gd name="connsiteX3" fmla="*/ 2327033 w 3369671"/>
              <a:gd name="connsiteY3" fmla="*/ 6005841 h 6013476"/>
              <a:gd name="connsiteX4" fmla="*/ 0 w 3369671"/>
              <a:gd name="connsiteY4" fmla="*/ 6013476 h 6013476"/>
              <a:gd name="connsiteX5" fmla="*/ 0 w 3369671"/>
              <a:gd name="connsiteY5" fmla="*/ 0 h 6013476"/>
              <a:gd name="connsiteX0" fmla="*/ 0 w 3374396"/>
              <a:gd name="connsiteY0" fmla="*/ 0 h 6013476"/>
              <a:gd name="connsiteX1" fmla="*/ 3357005 w 3374396"/>
              <a:gd name="connsiteY1" fmla="*/ 0 h 6013476"/>
              <a:gd name="connsiteX2" fmla="*/ 3373642 w 3374396"/>
              <a:gd name="connsiteY2" fmla="*/ 4231422 h 6013476"/>
              <a:gd name="connsiteX3" fmla="*/ 2327033 w 3374396"/>
              <a:gd name="connsiteY3" fmla="*/ 6005841 h 6013476"/>
              <a:gd name="connsiteX4" fmla="*/ 0 w 3374396"/>
              <a:gd name="connsiteY4" fmla="*/ 6013476 h 6013476"/>
              <a:gd name="connsiteX5" fmla="*/ 0 w 3374396"/>
              <a:gd name="connsiteY5" fmla="*/ 0 h 6013476"/>
              <a:gd name="connsiteX0" fmla="*/ 0 w 3379124"/>
              <a:gd name="connsiteY0" fmla="*/ 0 h 6013476"/>
              <a:gd name="connsiteX1" fmla="*/ 3357005 w 3379124"/>
              <a:gd name="connsiteY1" fmla="*/ 0 h 6013476"/>
              <a:gd name="connsiteX2" fmla="*/ 3378404 w 3379124"/>
              <a:gd name="connsiteY2" fmla="*/ 4188560 h 6013476"/>
              <a:gd name="connsiteX3" fmla="*/ 2327033 w 3379124"/>
              <a:gd name="connsiteY3" fmla="*/ 6005841 h 6013476"/>
              <a:gd name="connsiteX4" fmla="*/ 0 w 3379124"/>
              <a:gd name="connsiteY4" fmla="*/ 6013476 h 6013476"/>
              <a:gd name="connsiteX5" fmla="*/ 0 w 3379124"/>
              <a:gd name="connsiteY5" fmla="*/ 0 h 6013476"/>
              <a:gd name="connsiteX0" fmla="*/ 0 w 3379124"/>
              <a:gd name="connsiteY0" fmla="*/ 0 h 6013476"/>
              <a:gd name="connsiteX1" fmla="*/ 3357005 w 3379124"/>
              <a:gd name="connsiteY1" fmla="*/ 0 h 6013476"/>
              <a:gd name="connsiteX2" fmla="*/ 3378404 w 3379124"/>
              <a:gd name="connsiteY2" fmla="*/ 4188560 h 6013476"/>
              <a:gd name="connsiteX3" fmla="*/ 2327033 w 3379124"/>
              <a:gd name="connsiteY3" fmla="*/ 6005841 h 6013476"/>
              <a:gd name="connsiteX4" fmla="*/ 0 w 3379124"/>
              <a:gd name="connsiteY4" fmla="*/ 6013476 h 6013476"/>
              <a:gd name="connsiteX5" fmla="*/ 0 w 3379124"/>
              <a:gd name="connsiteY5" fmla="*/ 0 h 6013476"/>
              <a:gd name="connsiteX0" fmla="*/ 0 w 3379124"/>
              <a:gd name="connsiteY0" fmla="*/ 0 h 6013476"/>
              <a:gd name="connsiteX1" fmla="*/ 3357005 w 3379124"/>
              <a:gd name="connsiteY1" fmla="*/ 0 h 6013476"/>
              <a:gd name="connsiteX2" fmla="*/ 3378404 w 3379124"/>
              <a:gd name="connsiteY2" fmla="*/ 4188560 h 6013476"/>
              <a:gd name="connsiteX3" fmla="*/ 2327033 w 3379124"/>
              <a:gd name="connsiteY3" fmla="*/ 6005841 h 6013476"/>
              <a:gd name="connsiteX4" fmla="*/ 0 w 3379124"/>
              <a:gd name="connsiteY4" fmla="*/ 6013476 h 6013476"/>
              <a:gd name="connsiteX5" fmla="*/ 0 w 3379124"/>
              <a:gd name="connsiteY5" fmla="*/ 0 h 6013476"/>
              <a:gd name="connsiteX0" fmla="*/ 0 w 3379124"/>
              <a:gd name="connsiteY0" fmla="*/ 0 h 6013476"/>
              <a:gd name="connsiteX1" fmla="*/ 3357005 w 3379124"/>
              <a:gd name="connsiteY1" fmla="*/ 0 h 6013476"/>
              <a:gd name="connsiteX2" fmla="*/ 3378404 w 3379124"/>
              <a:gd name="connsiteY2" fmla="*/ 4188560 h 6013476"/>
              <a:gd name="connsiteX3" fmla="*/ 2327033 w 3379124"/>
              <a:gd name="connsiteY3" fmla="*/ 6005841 h 6013476"/>
              <a:gd name="connsiteX4" fmla="*/ 0 w 3379124"/>
              <a:gd name="connsiteY4" fmla="*/ 6013476 h 6013476"/>
              <a:gd name="connsiteX5" fmla="*/ 0 w 3379124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188560 h 6013476"/>
              <a:gd name="connsiteX3" fmla="*/ 2327033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188560 h 6013476"/>
              <a:gd name="connsiteX3" fmla="*/ 2234330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76509"/>
              <a:gd name="connsiteY0" fmla="*/ 0 h 6013476"/>
              <a:gd name="connsiteX1" fmla="*/ 3376055 w 3376509"/>
              <a:gd name="connsiteY1" fmla="*/ 0 h 6013476"/>
              <a:gd name="connsiteX2" fmla="*/ 3285701 w 3376509"/>
              <a:gd name="connsiteY2" fmla="*/ 4213080 h 6013476"/>
              <a:gd name="connsiteX3" fmla="*/ 2234330 w 3376509"/>
              <a:gd name="connsiteY3" fmla="*/ 6005841 h 6013476"/>
              <a:gd name="connsiteX4" fmla="*/ 0 w 3376509"/>
              <a:gd name="connsiteY4" fmla="*/ 6013476 h 6013476"/>
              <a:gd name="connsiteX5" fmla="*/ 0 w 3376509"/>
              <a:gd name="connsiteY5" fmla="*/ 0 h 6013476"/>
              <a:gd name="connsiteX0" fmla="*/ 0 w 3384939"/>
              <a:gd name="connsiteY0" fmla="*/ 0 h 6013476"/>
              <a:gd name="connsiteX1" fmla="*/ 3376055 w 3384939"/>
              <a:gd name="connsiteY1" fmla="*/ 0 h 6013476"/>
              <a:gd name="connsiteX2" fmla="*/ 3384584 w 3384939"/>
              <a:gd name="connsiteY2" fmla="*/ 4194690 h 6013476"/>
              <a:gd name="connsiteX3" fmla="*/ 2234330 w 3384939"/>
              <a:gd name="connsiteY3" fmla="*/ 6005841 h 6013476"/>
              <a:gd name="connsiteX4" fmla="*/ 0 w 3384939"/>
              <a:gd name="connsiteY4" fmla="*/ 6013476 h 6013476"/>
              <a:gd name="connsiteX5" fmla="*/ 0 w 3384939"/>
              <a:gd name="connsiteY5" fmla="*/ 0 h 6013476"/>
              <a:gd name="connsiteX0" fmla="*/ 0 w 3384939"/>
              <a:gd name="connsiteY0" fmla="*/ 0 h 6013476"/>
              <a:gd name="connsiteX1" fmla="*/ 3376055 w 3384939"/>
              <a:gd name="connsiteY1" fmla="*/ 0 h 6013476"/>
              <a:gd name="connsiteX2" fmla="*/ 3384584 w 3384939"/>
              <a:gd name="connsiteY2" fmla="*/ 4194690 h 6013476"/>
              <a:gd name="connsiteX3" fmla="*/ 2234330 w 3384939"/>
              <a:gd name="connsiteY3" fmla="*/ 6005841 h 6013476"/>
              <a:gd name="connsiteX4" fmla="*/ 0 w 3384939"/>
              <a:gd name="connsiteY4" fmla="*/ 6013476 h 6013476"/>
              <a:gd name="connsiteX5" fmla="*/ 0 w 3384939"/>
              <a:gd name="connsiteY5" fmla="*/ 0 h 6013476"/>
              <a:gd name="connsiteX0" fmla="*/ 0 w 3384611"/>
              <a:gd name="connsiteY0" fmla="*/ 0 h 6013476"/>
              <a:gd name="connsiteX1" fmla="*/ 3376055 w 3384611"/>
              <a:gd name="connsiteY1" fmla="*/ 0 h 6013476"/>
              <a:gd name="connsiteX2" fmla="*/ 3384584 w 3384611"/>
              <a:gd name="connsiteY2" fmla="*/ 4194690 h 6013476"/>
              <a:gd name="connsiteX3" fmla="*/ 2234330 w 3384611"/>
              <a:gd name="connsiteY3" fmla="*/ 6005841 h 6013476"/>
              <a:gd name="connsiteX4" fmla="*/ 0 w 3384611"/>
              <a:gd name="connsiteY4" fmla="*/ 6013476 h 6013476"/>
              <a:gd name="connsiteX5" fmla="*/ 0 w 3384611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102741 h 6013476"/>
              <a:gd name="connsiteX3" fmla="*/ 2234330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102741 h 6013476"/>
              <a:gd name="connsiteX3" fmla="*/ 2234330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047572 h 6013476"/>
              <a:gd name="connsiteX3" fmla="*/ 2234330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047572 h 6013476"/>
              <a:gd name="connsiteX3" fmla="*/ 2234330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78827"/>
              <a:gd name="connsiteY0" fmla="*/ 0 h 6013476"/>
              <a:gd name="connsiteX1" fmla="*/ 3376055 w 3378827"/>
              <a:gd name="connsiteY1" fmla="*/ 0 h 6013476"/>
              <a:gd name="connsiteX2" fmla="*/ 3372224 w 3378827"/>
              <a:gd name="connsiteY2" fmla="*/ 4035312 h 6013476"/>
              <a:gd name="connsiteX3" fmla="*/ 2234330 w 3378827"/>
              <a:gd name="connsiteY3" fmla="*/ 6005841 h 6013476"/>
              <a:gd name="connsiteX4" fmla="*/ 0 w 3378827"/>
              <a:gd name="connsiteY4" fmla="*/ 6013476 h 6013476"/>
              <a:gd name="connsiteX5" fmla="*/ 0 w 3378827"/>
              <a:gd name="connsiteY5" fmla="*/ 0 h 6013476"/>
              <a:gd name="connsiteX0" fmla="*/ 0 w 3378827"/>
              <a:gd name="connsiteY0" fmla="*/ 0 h 6013476"/>
              <a:gd name="connsiteX1" fmla="*/ 3376055 w 3378827"/>
              <a:gd name="connsiteY1" fmla="*/ 0 h 6013476"/>
              <a:gd name="connsiteX2" fmla="*/ 3372224 w 3378827"/>
              <a:gd name="connsiteY2" fmla="*/ 4035312 h 6013476"/>
              <a:gd name="connsiteX3" fmla="*/ 2234330 w 3378827"/>
              <a:gd name="connsiteY3" fmla="*/ 6005841 h 6013476"/>
              <a:gd name="connsiteX4" fmla="*/ 0 w 3378827"/>
              <a:gd name="connsiteY4" fmla="*/ 6013476 h 6013476"/>
              <a:gd name="connsiteX5" fmla="*/ 0 w 3378827"/>
              <a:gd name="connsiteY5" fmla="*/ 0 h 6013476"/>
              <a:gd name="connsiteX0" fmla="*/ 0 w 3384612"/>
              <a:gd name="connsiteY0" fmla="*/ 0 h 6013476"/>
              <a:gd name="connsiteX1" fmla="*/ 3376055 w 3384612"/>
              <a:gd name="connsiteY1" fmla="*/ 0 h 6013476"/>
              <a:gd name="connsiteX2" fmla="*/ 3384585 w 3384612"/>
              <a:gd name="connsiteY2" fmla="*/ 3967882 h 6013476"/>
              <a:gd name="connsiteX3" fmla="*/ 2234330 w 3384612"/>
              <a:gd name="connsiteY3" fmla="*/ 6005841 h 6013476"/>
              <a:gd name="connsiteX4" fmla="*/ 0 w 3384612"/>
              <a:gd name="connsiteY4" fmla="*/ 6013476 h 6013476"/>
              <a:gd name="connsiteX5" fmla="*/ 0 w 3384612"/>
              <a:gd name="connsiteY5" fmla="*/ 0 h 6013476"/>
              <a:gd name="connsiteX0" fmla="*/ 0 w 3380371"/>
              <a:gd name="connsiteY0" fmla="*/ 0 h 6013476"/>
              <a:gd name="connsiteX1" fmla="*/ 3376055 w 3380371"/>
              <a:gd name="connsiteY1" fmla="*/ 0 h 6013476"/>
              <a:gd name="connsiteX2" fmla="*/ 3378405 w 3380371"/>
              <a:gd name="connsiteY2" fmla="*/ 3992402 h 6013476"/>
              <a:gd name="connsiteX3" fmla="*/ 2234330 w 3380371"/>
              <a:gd name="connsiteY3" fmla="*/ 6005841 h 6013476"/>
              <a:gd name="connsiteX4" fmla="*/ 0 w 3380371"/>
              <a:gd name="connsiteY4" fmla="*/ 6013476 h 6013476"/>
              <a:gd name="connsiteX5" fmla="*/ 0 w 3380371"/>
              <a:gd name="connsiteY5" fmla="*/ 0 h 6013476"/>
              <a:gd name="connsiteX0" fmla="*/ 0 w 3380371"/>
              <a:gd name="connsiteY0" fmla="*/ 0 h 6013476"/>
              <a:gd name="connsiteX1" fmla="*/ 3376055 w 3380371"/>
              <a:gd name="connsiteY1" fmla="*/ 0 h 6013476"/>
              <a:gd name="connsiteX2" fmla="*/ 3378405 w 3380371"/>
              <a:gd name="connsiteY2" fmla="*/ 3992402 h 6013476"/>
              <a:gd name="connsiteX3" fmla="*/ 1755116 w 3380371"/>
              <a:gd name="connsiteY3" fmla="*/ 6010439 h 6013476"/>
              <a:gd name="connsiteX4" fmla="*/ 0 w 3380371"/>
              <a:gd name="connsiteY4" fmla="*/ 6013476 h 6013476"/>
              <a:gd name="connsiteX5" fmla="*/ 0 w 3380371"/>
              <a:gd name="connsiteY5" fmla="*/ 0 h 6013476"/>
              <a:gd name="connsiteX0" fmla="*/ 0 w 3380371"/>
              <a:gd name="connsiteY0" fmla="*/ 0 h 6013476"/>
              <a:gd name="connsiteX1" fmla="*/ 3376055 w 3380371"/>
              <a:gd name="connsiteY1" fmla="*/ 0 h 6013476"/>
              <a:gd name="connsiteX2" fmla="*/ 3378405 w 3380371"/>
              <a:gd name="connsiteY2" fmla="*/ 3992402 h 6013476"/>
              <a:gd name="connsiteX3" fmla="*/ 1830781 w 3380371"/>
              <a:gd name="connsiteY3" fmla="*/ 6010439 h 6013476"/>
              <a:gd name="connsiteX4" fmla="*/ 0 w 3380371"/>
              <a:gd name="connsiteY4" fmla="*/ 6013476 h 6013476"/>
              <a:gd name="connsiteX5" fmla="*/ 0 w 3380371"/>
              <a:gd name="connsiteY5" fmla="*/ 0 h 6013476"/>
              <a:gd name="connsiteX0" fmla="*/ 0 w 3380371"/>
              <a:gd name="connsiteY0" fmla="*/ 0 h 6013476"/>
              <a:gd name="connsiteX1" fmla="*/ 3376055 w 3380371"/>
              <a:gd name="connsiteY1" fmla="*/ 0 h 6013476"/>
              <a:gd name="connsiteX2" fmla="*/ 3378405 w 3380371"/>
              <a:gd name="connsiteY2" fmla="*/ 4088949 h 6013476"/>
              <a:gd name="connsiteX3" fmla="*/ 1830781 w 3380371"/>
              <a:gd name="connsiteY3" fmla="*/ 6010439 h 6013476"/>
              <a:gd name="connsiteX4" fmla="*/ 0 w 3380371"/>
              <a:gd name="connsiteY4" fmla="*/ 6013476 h 6013476"/>
              <a:gd name="connsiteX5" fmla="*/ 0 w 3380371"/>
              <a:gd name="connsiteY5" fmla="*/ 0 h 6013476"/>
              <a:gd name="connsiteX0" fmla="*/ 0 w 3378807"/>
              <a:gd name="connsiteY0" fmla="*/ 0 h 6013476"/>
              <a:gd name="connsiteX1" fmla="*/ 3376055 w 3378807"/>
              <a:gd name="connsiteY1" fmla="*/ 0 h 6013476"/>
              <a:gd name="connsiteX2" fmla="*/ 3372100 w 3378807"/>
              <a:gd name="connsiteY2" fmla="*/ 4047572 h 6013476"/>
              <a:gd name="connsiteX3" fmla="*/ 1830781 w 3378807"/>
              <a:gd name="connsiteY3" fmla="*/ 6010439 h 6013476"/>
              <a:gd name="connsiteX4" fmla="*/ 0 w 3378807"/>
              <a:gd name="connsiteY4" fmla="*/ 6013476 h 6013476"/>
              <a:gd name="connsiteX5" fmla="*/ 0 w 3378807"/>
              <a:gd name="connsiteY5" fmla="*/ 0 h 6013476"/>
              <a:gd name="connsiteX0" fmla="*/ 0 w 3378068"/>
              <a:gd name="connsiteY0" fmla="*/ 0 h 6013476"/>
              <a:gd name="connsiteX1" fmla="*/ 3376055 w 3378068"/>
              <a:gd name="connsiteY1" fmla="*/ 0 h 6013476"/>
              <a:gd name="connsiteX2" fmla="*/ 3365794 w 3378068"/>
              <a:gd name="connsiteY2" fmla="*/ 4038377 h 6013476"/>
              <a:gd name="connsiteX3" fmla="*/ 1830781 w 3378068"/>
              <a:gd name="connsiteY3" fmla="*/ 6010439 h 6013476"/>
              <a:gd name="connsiteX4" fmla="*/ 0 w 3378068"/>
              <a:gd name="connsiteY4" fmla="*/ 6013476 h 6013476"/>
              <a:gd name="connsiteX5" fmla="*/ 0 w 3378068"/>
              <a:gd name="connsiteY5" fmla="*/ 0 h 6013476"/>
              <a:gd name="connsiteX0" fmla="*/ 0 w 3378068"/>
              <a:gd name="connsiteY0" fmla="*/ 0 h 6013476"/>
              <a:gd name="connsiteX1" fmla="*/ 3376055 w 3378068"/>
              <a:gd name="connsiteY1" fmla="*/ 0 h 6013476"/>
              <a:gd name="connsiteX2" fmla="*/ 3365795 w 3378068"/>
              <a:gd name="connsiteY2" fmla="*/ 4024584 h 6013476"/>
              <a:gd name="connsiteX3" fmla="*/ 1830781 w 3378068"/>
              <a:gd name="connsiteY3" fmla="*/ 6010439 h 6013476"/>
              <a:gd name="connsiteX4" fmla="*/ 0 w 3378068"/>
              <a:gd name="connsiteY4" fmla="*/ 6013476 h 6013476"/>
              <a:gd name="connsiteX5" fmla="*/ 0 w 3378068"/>
              <a:gd name="connsiteY5" fmla="*/ 0 h 601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78068" h="6013476">
                <a:moveTo>
                  <a:pt x="0" y="0"/>
                </a:moveTo>
                <a:lnTo>
                  <a:pt x="3376055" y="0"/>
                </a:lnTo>
                <a:cubicBezTo>
                  <a:pt x="3383972" y="1826362"/>
                  <a:pt x="3366007" y="3278467"/>
                  <a:pt x="3365795" y="4024584"/>
                </a:cubicBezTo>
                <a:lnTo>
                  <a:pt x="1830781" y="6010439"/>
                </a:lnTo>
                <a:lnTo>
                  <a:pt x="0" y="601347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360000" tIns="360000" rIns="360000" bIns="360000">
            <a:noAutofit/>
          </a:bodyPr>
          <a:lstStyle>
            <a:lvl1pPr marL="358775" indent="-358775">
              <a:buClr>
                <a:schemeClr val="tx1"/>
              </a:buClr>
              <a:buFont typeface="Wingdings" panose="05000000000000000000" pitchFamily="2" charset="2"/>
              <a:buChar char="§"/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tx1"/>
              </a:buClr>
              <a:buFont typeface="Arial" panose="020B0604020202020204" pitchFamily="34" charset="0"/>
              <a:buChar char="•"/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Font typeface="Symbol" panose="05050102010706020507" pitchFamily="18" charset="2"/>
              <a:buChar char="-"/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8189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26B43"/>
          </p15:clr>
        </p15:guide>
        <p15:guide id="4" pos="3931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  <p15:guide id="7" pos="5654">
          <p15:clr>
            <a:srgbClr val="F26B43"/>
          </p15:clr>
        </p15:guide>
        <p15:guide id="8" pos="5473">
          <p15:clr>
            <a:srgbClr val="F26B43"/>
          </p15:clr>
        </p15:guide>
        <p15:guide id="9" pos="2207">
          <p15:clr>
            <a:srgbClr val="F26B43"/>
          </p15:clr>
        </p15:guide>
        <p15:guide id="10" pos="2026">
          <p15:clr>
            <a:srgbClr val="F26B43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ATIV// 3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6005584-38D7-0B76-0189-0358AF02BD54}"/>
              </a:ext>
            </a:extLst>
          </p:cNvPr>
          <p:cNvSpPr/>
          <p:nvPr userDrawn="1"/>
        </p:nvSpPr>
        <p:spPr>
          <a:xfrm>
            <a:off x="-1" y="0"/>
            <a:ext cx="11103429" cy="102127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dirty="0" err="1"/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0641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60ED6361-F72E-4082-BD9A-CC3E00274D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9820894" y="2648197"/>
            <a:ext cx="2371106" cy="4209803"/>
          </a:xfrm>
          <a:prstGeom prst="rtTriangle">
            <a:avLst/>
          </a:pr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70195F57-E2B4-4C17-921E-D0505DD50D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038" y="115888"/>
            <a:ext cx="3441503" cy="6229350"/>
          </a:xfrm>
          <a:prstGeom prst="rect">
            <a:avLst/>
          </a:prstGeom>
          <a:solidFill>
            <a:schemeClr val="tx1"/>
          </a:solidFill>
        </p:spPr>
        <p:txBody>
          <a:bodyPr wrap="square" lIns="360000" tIns="360000" rIns="360000" bIns="360000">
            <a:noAutofit/>
          </a:bodyPr>
          <a:lstStyle>
            <a:lvl1pPr marL="358775" indent="-358775">
              <a:buFont typeface="Wingdings" panose="05000000000000000000" pitchFamily="2" charset="2"/>
              <a:buChar char="§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Font typeface="Arial" panose="020B0604020202020204" pitchFamily="34" charset="0"/>
              <a:buChar char="•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Font typeface="Symbol" panose="05050102010706020507" pitchFamily="18" charset="2"/>
              <a:buChar char="-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accent6"/>
                </a:solidFill>
              </a:defRPr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2F5AE94-26CB-4B52-9D32-BB3573223A2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09568" y="115888"/>
            <a:ext cx="3477531" cy="6229350"/>
          </a:xfrm>
          <a:prstGeom prst="rect">
            <a:avLst/>
          </a:prstGeom>
          <a:solidFill>
            <a:schemeClr val="tx2"/>
          </a:solidFill>
        </p:spPr>
        <p:txBody>
          <a:bodyPr wrap="square" lIns="360000" tIns="360000" rIns="360000" bIns="360000">
            <a:noAutofit/>
          </a:bodyPr>
          <a:lstStyle>
            <a:lvl1pPr marL="358775" indent="-358775">
              <a:buClr>
                <a:schemeClr val="bg1"/>
              </a:buClr>
              <a:buFont typeface="Wingdings" panose="05000000000000000000" pitchFamily="2" charset="2"/>
              <a:buChar char="§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bg1"/>
              </a:buClr>
              <a:buFont typeface="Arial" panose="020B0604020202020204" pitchFamily="34" charset="0"/>
              <a:buChar char="•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Clr>
                <a:schemeClr val="bg1"/>
              </a:buClr>
              <a:buFont typeface="Symbol" panose="05050102010706020507" pitchFamily="18" charset="2"/>
              <a:buChar char="-"/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bg1"/>
                </a:solidFill>
              </a:defRPr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B081B6C1-45B0-4E79-BBD7-9988F5587D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55125" y="115888"/>
            <a:ext cx="3473238" cy="6229350"/>
          </a:xfrm>
          <a:custGeom>
            <a:avLst/>
            <a:gdLst>
              <a:gd name="connsiteX0" fmla="*/ 0 w 3357005"/>
              <a:gd name="connsiteY0" fmla="*/ 0 h 6013476"/>
              <a:gd name="connsiteX1" fmla="*/ 3357005 w 3357005"/>
              <a:gd name="connsiteY1" fmla="*/ 0 h 6013476"/>
              <a:gd name="connsiteX2" fmla="*/ 3357005 w 3357005"/>
              <a:gd name="connsiteY2" fmla="*/ 6013476 h 6013476"/>
              <a:gd name="connsiteX3" fmla="*/ 0 w 3357005"/>
              <a:gd name="connsiteY3" fmla="*/ 6013476 h 6013476"/>
              <a:gd name="connsiteX4" fmla="*/ 0 w 3357005"/>
              <a:gd name="connsiteY4" fmla="*/ 0 h 6013476"/>
              <a:gd name="connsiteX0" fmla="*/ 0 w 3357005"/>
              <a:gd name="connsiteY0" fmla="*/ 0 h 6013476"/>
              <a:gd name="connsiteX1" fmla="*/ 3357005 w 3357005"/>
              <a:gd name="connsiteY1" fmla="*/ 0 h 6013476"/>
              <a:gd name="connsiteX2" fmla="*/ 3357005 w 3357005"/>
              <a:gd name="connsiteY2" fmla="*/ 6013476 h 6013476"/>
              <a:gd name="connsiteX3" fmla="*/ 2327033 w 3357005"/>
              <a:gd name="connsiteY3" fmla="*/ 6005841 h 6013476"/>
              <a:gd name="connsiteX4" fmla="*/ 0 w 3357005"/>
              <a:gd name="connsiteY4" fmla="*/ 6013476 h 6013476"/>
              <a:gd name="connsiteX5" fmla="*/ 0 w 3357005"/>
              <a:gd name="connsiteY5" fmla="*/ 0 h 6013476"/>
              <a:gd name="connsiteX0" fmla="*/ 0 w 3357005"/>
              <a:gd name="connsiteY0" fmla="*/ 0 h 6013476"/>
              <a:gd name="connsiteX1" fmla="*/ 3357005 w 3357005"/>
              <a:gd name="connsiteY1" fmla="*/ 0 h 6013476"/>
              <a:gd name="connsiteX2" fmla="*/ 3357005 w 3357005"/>
              <a:gd name="connsiteY2" fmla="*/ 6013476 h 6013476"/>
              <a:gd name="connsiteX3" fmla="*/ 2327033 w 3357005"/>
              <a:gd name="connsiteY3" fmla="*/ 6005841 h 6013476"/>
              <a:gd name="connsiteX4" fmla="*/ 0 w 3357005"/>
              <a:gd name="connsiteY4" fmla="*/ 6013476 h 6013476"/>
              <a:gd name="connsiteX5" fmla="*/ 0 w 3357005"/>
              <a:gd name="connsiteY5" fmla="*/ 0 h 6013476"/>
              <a:gd name="connsiteX0" fmla="*/ 0 w 3380755"/>
              <a:gd name="connsiteY0" fmla="*/ 0 h 6013476"/>
              <a:gd name="connsiteX1" fmla="*/ 3357005 w 3380755"/>
              <a:gd name="connsiteY1" fmla="*/ 0 h 6013476"/>
              <a:gd name="connsiteX2" fmla="*/ 3380755 w 3380755"/>
              <a:gd name="connsiteY2" fmla="*/ 5479087 h 6013476"/>
              <a:gd name="connsiteX3" fmla="*/ 2327033 w 3380755"/>
              <a:gd name="connsiteY3" fmla="*/ 6005841 h 6013476"/>
              <a:gd name="connsiteX4" fmla="*/ 0 w 3380755"/>
              <a:gd name="connsiteY4" fmla="*/ 6013476 h 6013476"/>
              <a:gd name="connsiteX5" fmla="*/ 0 w 3380755"/>
              <a:gd name="connsiteY5" fmla="*/ 0 h 6013476"/>
              <a:gd name="connsiteX0" fmla="*/ 0 w 3380755"/>
              <a:gd name="connsiteY0" fmla="*/ 0 h 6013476"/>
              <a:gd name="connsiteX1" fmla="*/ 3357005 w 3380755"/>
              <a:gd name="connsiteY1" fmla="*/ 0 h 6013476"/>
              <a:gd name="connsiteX2" fmla="*/ 3380755 w 3380755"/>
              <a:gd name="connsiteY2" fmla="*/ 5479087 h 6013476"/>
              <a:gd name="connsiteX3" fmla="*/ 2327033 w 3380755"/>
              <a:gd name="connsiteY3" fmla="*/ 6005841 h 6013476"/>
              <a:gd name="connsiteX4" fmla="*/ 0 w 3380755"/>
              <a:gd name="connsiteY4" fmla="*/ 6013476 h 6013476"/>
              <a:gd name="connsiteX5" fmla="*/ 0 w 3380755"/>
              <a:gd name="connsiteY5" fmla="*/ 0 h 6013476"/>
              <a:gd name="connsiteX0" fmla="*/ 0 w 3368880"/>
              <a:gd name="connsiteY0" fmla="*/ 0 h 6013476"/>
              <a:gd name="connsiteX1" fmla="*/ 3357005 w 3368880"/>
              <a:gd name="connsiteY1" fmla="*/ 0 h 6013476"/>
              <a:gd name="connsiteX2" fmla="*/ 3368880 w 3368880"/>
              <a:gd name="connsiteY2" fmla="*/ 4529061 h 6013476"/>
              <a:gd name="connsiteX3" fmla="*/ 2327033 w 3368880"/>
              <a:gd name="connsiteY3" fmla="*/ 6005841 h 6013476"/>
              <a:gd name="connsiteX4" fmla="*/ 0 w 3368880"/>
              <a:gd name="connsiteY4" fmla="*/ 6013476 h 6013476"/>
              <a:gd name="connsiteX5" fmla="*/ 0 w 3368880"/>
              <a:gd name="connsiteY5" fmla="*/ 0 h 6013476"/>
              <a:gd name="connsiteX0" fmla="*/ 0 w 3368880"/>
              <a:gd name="connsiteY0" fmla="*/ 0 h 6013476"/>
              <a:gd name="connsiteX1" fmla="*/ 3357005 w 3368880"/>
              <a:gd name="connsiteY1" fmla="*/ 0 h 6013476"/>
              <a:gd name="connsiteX2" fmla="*/ 3368880 w 3368880"/>
              <a:gd name="connsiteY2" fmla="*/ 4529061 h 6013476"/>
              <a:gd name="connsiteX3" fmla="*/ 2327033 w 3368880"/>
              <a:gd name="connsiteY3" fmla="*/ 6005841 h 6013476"/>
              <a:gd name="connsiteX4" fmla="*/ 0 w 3368880"/>
              <a:gd name="connsiteY4" fmla="*/ 6013476 h 6013476"/>
              <a:gd name="connsiteX5" fmla="*/ 0 w 3368880"/>
              <a:gd name="connsiteY5" fmla="*/ 0 h 6013476"/>
              <a:gd name="connsiteX0" fmla="*/ 0 w 3368880"/>
              <a:gd name="connsiteY0" fmla="*/ 0 h 6013476"/>
              <a:gd name="connsiteX1" fmla="*/ 3357005 w 3368880"/>
              <a:gd name="connsiteY1" fmla="*/ 0 h 6013476"/>
              <a:gd name="connsiteX2" fmla="*/ 3368880 w 3368880"/>
              <a:gd name="connsiteY2" fmla="*/ 4339055 h 6013476"/>
              <a:gd name="connsiteX3" fmla="*/ 2327033 w 3368880"/>
              <a:gd name="connsiteY3" fmla="*/ 6005841 h 6013476"/>
              <a:gd name="connsiteX4" fmla="*/ 0 w 3368880"/>
              <a:gd name="connsiteY4" fmla="*/ 6013476 h 6013476"/>
              <a:gd name="connsiteX5" fmla="*/ 0 w 3368880"/>
              <a:gd name="connsiteY5" fmla="*/ 0 h 6013476"/>
              <a:gd name="connsiteX0" fmla="*/ 0 w 3368880"/>
              <a:gd name="connsiteY0" fmla="*/ 0 h 6013476"/>
              <a:gd name="connsiteX1" fmla="*/ 3357005 w 3368880"/>
              <a:gd name="connsiteY1" fmla="*/ 0 h 6013476"/>
              <a:gd name="connsiteX2" fmla="*/ 3368880 w 3368880"/>
              <a:gd name="connsiteY2" fmla="*/ 4339055 h 6013476"/>
              <a:gd name="connsiteX3" fmla="*/ 2327033 w 3368880"/>
              <a:gd name="connsiteY3" fmla="*/ 6005841 h 6013476"/>
              <a:gd name="connsiteX4" fmla="*/ 0 w 3368880"/>
              <a:gd name="connsiteY4" fmla="*/ 6013476 h 6013476"/>
              <a:gd name="connsiteX5" fmla="*/ 0 w 3368880"/>
              <a:gd name="connsiteY5" fmla="*/ 0 h 6013476"/>
              <a:gd name="connsiteX0" fmla="*/ 0 w 3361260"/>
              <a:gd name="connsiteY0" fmla="*/ 0 h 6013476"/>
              <a:gd name="connsiteX1" fmla="*/ 3357005 w 3361260"/>
              <a:gd name="connsiteY1" fmla="*/ 0 h 6013476"/>
              <a:gd name="connsiteX2" fmla="*/ 3361260 w 3361260"/>
              <a:gd name="connsiteY2" fmla="*/ 4270475 h 6013476"/>
              <a:gd name="connsiteX3" fmla="*/ 2327033 w 3361260"/>
              <a:gd name="connsiteY3" fmla="*/ 6005841 h 6013476"/>
              <a:gd name="connsiteX4" fmla="*/ 0 w 3361260"/>
              <a:gd name="connsiteY4" fmla="*/ 6013476 h 6013476"/>
              <a:gd name="connsiteX5" fmla="*/ 0 w 3361260"/>
              <a:gd name="connsiteY5" fmla="*/ 0 h 6013476"/>
              <a:gd name="connsiteX0" fmla="*/ 0 w 3361260"/>
              <a:gd name="connsiteY0" fmla="*/ 0 h 6013476"/>
              <a:gd name="connsiteX1" fmla="*/ 3357005 w 3361260"/>
              <a:gd name="connsiteY1" fmla="*/ 0 h 6013476"/>
              <a:gd name="connsiteX2" fmla="*/ 3361260 w 3361260"/>
              <a:gd name="connsiteY2" fmla="*/ 4270475 h 6013476"/>
              <a:gd name="connsiteX3" fmla="*/ 2327033 w 3361260"/>
              <a:gd name="connsiteY3" fmla="*/ 6005841 h 6013476"/>
              <a:gd name="connsiteX4" fmla="*/ 0 w 3361260"/>
              <a:gd name="connsiteY4" fmla="*/ 6013476 h 6013476"/>
              <a:gd name="connsiteX5" fmla="*/ 0 w 3361260"/>
              <a:gd name="connsiteY5" fmla="*/ 0 h 6013476"/>
              <a:gd name="connsiteX0" fmla="*/ 0 w 3362116"/>
              <a:gd name="connsiteY0" fmla="*/ 0 h 6013476"/>
              <a:gd name="connsiteX1" fmla="*/ 3357005 w 3362116"/>
              <a:gd name="connsiteY1" fmla="*/ 0 h 6013476"/>
              <a:gd name="connsiteX2" fmla="*/ 3361260 w 3362116"/>
              <a:gd name="connsiteY2" fmla="*/ 4270475 h 6013476"/>
              <a:gd name="connsiteX3" fmla="*/ 2327033 w 3362116"/>
              <a:gd name="connsiteY3" fmla="*/ 6005841 h 6013476"/>
              <a:gd name="connsiteX4" fmla="*/ 0 w 3362116"/>
              <a:gd name="connsiteY4" fmla="*/ 6013476 h 6013476"/>
              <a:gd name="connsiteX5" fmla="*/ 0 w 3362116"/>
              <a:gd name="connsiteY5" fmla="*/ 0 h 6013476"/>
              <a:gd name="connsiteX0" fmla="*/ 0 w 3377233"/>
              <a:gd name="connsiteY0" fmla="*/ 0 h 6013476"/>
              <a:gd name="connsiteX1" fmla="*/ 3357005 w 3377233"/>
              <a:gd name="connsiteY1" fmla="*/ 0 h 6013476"/>
              <a:gd name="connsiteX2" fmla="*/ 3376500 w 3377233"/>
              <a:gd name="connsiteY2" fmla="*/ 4293335 h 6013476"/>
              <a:gd name="connsiteX3" fmla="*/ 2327033 w 3377233"/>
              <a:gd name="connsiteY3" fmla="*/ 6005841 h 6013476"/>
              <a:gd name="connsiteX4" fmla="*/ 0 w 3377233"/>
              <a:gd name="connsiteY4" fmla="*/ 6013476 h 6013476"/>
              <a:gd name="connsiteX5" fmla="*/ 0 w 3377233"/>
              <a:gd name="connsiteY5" fmla="*/ 0 h 6013476"/>
              <a:gd name="connsiteX0" fmla="*/ 0 w 3362116"/>
              <a:gd name="connsiteY0" fmla="*/ 0 h 6013476"/>
              <a:gd name="connsiteX1" fmla="*/ 3357005 w 3362116"/>
              <a:gd name="connsiteY1" fmla="*/ 0 h 6013476"/>
              <a:gd name="connsiteX2" fmla="*/ 3361260 w 3362116"/>
              <a:gd name="connsiteY2" fmla="*/ 4293335 h 6013476"/>
              <a:gd name="connsiteX3" fmla="*/ 2327033 w 3362116"/>
              <a:gd name="connsiteY3" fmla="*/ 6005841 h 6013476"/>
              <a:gd name="connsiteX4" fmla="*/ 0 w 3362116"/>
              <a:gd name="connsiteY4" fmla="*/ 6013476 h 6013476"/>
              <a:gd name="connsiteX5" fmla="*/ 0 w 3362116"/>
              <a:gd name="connsiteY5" fmla="*/ 0 h 6013476"/>
              <a:gd name="connsiteX0" fmla="*/ 0 w 3369671"/>
              <a:gd name="connsiteY0" fmla="*/ 0 h 6013476"/>
              <a:gd name="connsiteX1" fmla="*/ 3357005 w 3369671"/>
              <a:gd name="connsiteY1" fmla="*/ 0 h 6013476"/>
              <a:gd name="connsiteX2" fmla="*/ 3368880 w 3369671"/>
              <a:gd name="connsiteY2" fmla="*/ 4293335 h 6013476"/>
              <a:gd name="connsiteX3" fmla="*/ 2327033 w 3369671"/>
              <a:gd name="connsiteY3" fmla="*/ 6005841 h 6013476"/>
              <a:gd name="connsiteX4" fmla="*/ 0 w 3369671"/>
              <a:gd name="connsiteY4" fmla="*/ 6013476 h 6013476"/>
              <a:gd name="connsiteX5" fmla="*/ 0 w 3369671"/>
              <a:gd name="connsiteY5" fmla="*/ 0 h 6013476"/>
              <a:gd name="connsiteX0" fmla="*/ 0 w 3369671"/>
              <a:gd name="connsiteY0" fmla="*/ 0 h 6013476"/>
              <a:gd name="connsiteX1" fmla="*/ 3357005 w 3369671"/>
              <a:gd name="connsiteY1" fmla="*/ 0 h 6013476"/>
              <a:gd name="connsiteX2" fmla="*/ 3368880 w 3369671"/>
              <a:gd name="connsiteY2" fmla="*/ 4293335 h 6013476"/>
              <a:gd name="connsiteX3" fmla="*/ 2327033 w 3369671"/>
              <a:gd name="connsiteY3" fmla="*/ 6005841 h 6013476"/>
              <a:gd name="connsiteX4" fmla="*/ 0 w 3369671"/>
              <a:gd name="connsiteY4" fmla="*/ 6013476 h 6013476"/>
              <a:gd name="connsiteX5" fmla="*/ 0 w 3369671"/>
              <a:gd name="connsiteY5" fmla="*/ 0 h 6013476"/>
              <a:gd name="connsiteX0" fmla="*/ 0 w 3369671"/>
              <a:gd name="connsiteY0" fmla="*/ 0 h 6013476"/>
              <a:gd name="connsiteX1" fmla="*/ 3357005 w 3369671"/>
              <a:gd name="connsiteY1" fmla="*/ 0 h 6013476"/>
              <a:gd name="connsiteX2" fmla="*/ 3368880 w 3369671"/>
              <a:gd name="connsiteY2" fmla="*/ 4293335 h 6013476"/>
              <a:gd name="connsiteX3" fmla="*/ 2327033 w 3369671"/>
              <a:gd name="connsiteY3" fmla="*/ 6005841 h 6013476"/>
              <a:gd name="connsiteX4" fmla="*/ 0 w 3369671"/>
              <a:gd name="connsiteY4" fmla="*/ 6013476 h 6013476"/>
              <a:gd name="connsiteX5" fmla="*/ 0 w 3369671"/>
              <a:gd name="connsiteY5" fmla="*/ 0 h 6013476"/>
              <a:gd name="connsiteX0" fmla="*/ 0 w 3369671"/>
              <a:gd name="connsiteY0" fmla="*/ 0 h 6013476"/>
              <a:gd name="connsiteX1" fmla="*/ 3357005 w 3369671"/>
              <a:gd name="connsiteY1" fmla="*/ 0 h 6013476"/>
              <a:gd name="connsiteX2" fmla="*/ 3368880 w 3369671"/>
              <a:gd name="connsiteY2" fmla="*/ 4293335 h 6013476"/>
              <a:gd name="connsiteX3" fmla="*/ 2327033 w 3369671"/>
              <a:gd name="connsiteY3" fmla="*/ 6005841 h 6013476"/>
              <a:gd name="connsiteX4" fmla="*/ 0 w 3369671"/>
              <a:gd name="connsiteY4" fmla="*/ 6013476 h 6013476"/>
              <a:gd name="connsiteX5" fmla="*/ 0 w 3369671"/>
              <a:gd name="connsiteY5" fmla="*/ 0 h 6013476"/>
              <a:gd name="connsiteX0" fmla="*/ 0 w 3369671"/>
              <a:gd name="connsiteY0" fmla="*/ 0 h 6013476"/>
              <a:gd name="connsiteX1" fmla="*/ 3357005 w 3369671"/>
              <a:gd name="connsiteY1" fmla="*/ 0 h 6013476"/>
              <a:gd name="connsiteX2" fmla="*/ 3368880 w 3369671"/>
              <a:gd name="connsiteY2" fmla="*/ 4293335 h 6013476"/>
              <a:gd name="connsiteX3" fmla="*/ 2327033 w 3369671"/>
              <a:gd name="connsiteY3" fmla="*/ 6005841 h 6013476"/>
              <a:gd name="connsiteX4" fmla="*/ 0 w 3369671"/>
              <a:gd name="connsiteY4" fmla="*/ 6013476 h 6013476"/>
              <a:gd name="connsiteX5" fmla="*/ 0 w 3369671"/>
              <a:gd name="connsiteY5" fmla="*/ 0 h 6013476"/>
              <a:gd name="connsiteX0" fmla="*/ 0 w 3374396"/>
              <a:gd name="connsiteY0" fmla="*/ 0 h 6013476"/>
              <a:gd name="connsiteX1" fmla="*/ 3357005 w 3374396"/>
              <a:gd name="connsiteY1" fmla="*/ 0 h 6013476"/>
              <a:gd name="connsiteX2" fmla="*/ 3373642 w 3374396"/>
              <a:gd name="connsiteY2" fmla="*/ 4231422 h 6013476"/>
              <a:gd name="connsiteX3" fmla="*/ 2327033 w 3374396"/>
              <a:gd name="connsiteY3" fmla="*/ 6005841 h 6013476"/>
              <a:gd name="connsiteX4" fmla="*/ 0 w 3374396"/>
              <a:gd name="connsiteY4" fmla="*/ 6013476 h 6013476"/>
              <a:gd name="connsiteX5" fmla="*/ 0 w 3374396"/>
              <a:gd name="connsiteY5" fmla="*/ 0 h 6013476"/>
              <a:gd name="connsiteX0" fmla="*/ 0 w 3379124"/>
              <a:gd name="connsiteY0" fmla="*/ 0 h 6013476"/>
              <a:gd name="connsiteX1" fmla="*/ 3357005 w 3379124"/>
              <a:gd name="connsiteY1" fmla="*/ 0 h 6013476"/>
              <a:gd name="connsiteX2" fmla="*/ 3378404 w 3379124"/>
              <a:gd name="connsiteY2" fmla="*/ 4188560 h 6013476"/>
              <a:gd name="connsiteX3" fmla="*/ 2327033 w 3379124"/>
              <a:gd name="connsiteY3" fmla="*/ 6005841 h 6013476"/>
              <a:gd name="connsiteX4" fmla="*/ 0 w 3379124"/>
              <a:gd name="connsiteY4" fmla="*/ 6013476 h 6013476"/>
              <a:gd name="connsiteX5" fmla="*/ 0 w 3379124"/>
              <a:gd name="connsiteY5" fmla="*/ 0 h 6013476"/>
              <a:gd name="connsiteX0" fmla="*/ 0 w 3379124"/>
              <a:gd name="connsiteY0" fmla="*/ 0 h 6013476"/>
              <a:gd name="connsiteX1" fmla="*/ 3357005 w 3379124"/>
              <a:gd name="connsiteY1" fmla="*/ 0 h 6013476"/>
              <a:gd name="connsiteX2" fmla="*/ 3378404 w 3379124"/>
              <a:gd name="connsiteY2" fmla="*/ 4188560 h 6013476"/>
              <a:gd name="connsiteX3" fmla="*/ 2327033 w 3379124"/>
              <a:gd name="connsiteY3" fmla="*/ 6005841 h 6013476"/>
              <a:gd name="connsiteX4" fmla="*/ 0 w 3379124"/>
              <a:gd name="connsiteY4" fmla="*/ 6013476 h 6013476"/>
              <a:gd name="connsiteX5" fmla="*/ 0 w 3379124"/>
              <a:gd name="connsiteY5" fmla="*/ 0 h 6013476"/>
              <a:gd name="connsiteX0" fmla="*/ 0 w 3379124"/>
              <a:gd name="connsiteY0" fmla="*/ 0 h 6013476"/>
              <a:gd name="connsiteX1" fmla="*/ 3357005 w 3379124"/>
              <a:gd name="connsiteY1" fmla="*/ 0 h 6013476"/>
              <a:gd name="connsiteX2" fmla="*/ 3378404 w 3379124"/>
              <a:gd name="connsiteY2" fmla="*/ 4188560 h 6013476"/>
              <a:gd name="connsiteX3" fmla="*/ 2327033 w 3379124"/>
              <a:gd name="connsiteY3" fmla="*/ 6005841 h 6013476"/>
              <a:gd name="connsiteX4" fmla="*/ 0 w 3379124"/>
              <a:gd name="connsiteY4" fmla="*/ 6013476 h 6013476"/>
              <a:gd name="connsiteX5" fmla="*/ 0 w 3379124"/>
              <a:gd name="connsiteY5" fmla="*/ 0 h 6013476"/>
              <a:gd name="connsiteX0" fmla="*/ 0 w 3379124"/>
              <a:gd name="connsiteY0" fmla="*/ 0 h 6013476"/>
              <a:gd name="connsiteX1" fmla="*/ 3357005 w 3379124"/>
              <a:gd name="connsiteY1" fmla="*/ 0 h 6013476"/>
              <a:gd name="connsiteX2" fmla="*/ 3378404 w 3379124"/>
              <a:gd name="connsiteY2" fmla="*/ 4188560 h 6013476"/>
              <a:gd name="connsiteX3" fmla="*/ 2327033 w 3379124"/>
              <a:gd name="connsiteY3" fmla="*/ 6005841 h 6013476"/>
              <a:gd name="connsiteX4" fmla="*/ 0 w 3379124"/>
              <a:gd name="connsiteY4" fmla="*/ 6013476 h 6013476"/>
              <a:gd name="connsiteX5" fmla="*/ 0 w 3379124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188560 h 6013476"/>
              <a:gd name="connsiteX3" fmla="*/ 2327033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188560 h 6013476"/>
              <a:gd name="connsiteX3" fmla="*/ 2234330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76509"/>
              <a:gd name="connsiteY0" fmla="*/ 0 h 6013476"/>
              <a:gd name="connsiteX1" fmla="*/ 3376055 w 3376509"/>
              <a:gd name="connsiteY1" fmla="*/ 0 h 6013476"/>
              <a:gd name="connsiteX2" fmla="*/ 3285701 w 3376509"/>
              <a:gd name="connsiteY2" fmla="*/ 4213080 h 6013476"/>
              <a:gd name="connsiteX3" fmla="*/ 2234330 w 3376509"/>
              <a:gd name="connsiteY3" fmla="*/ 6005841 h 6013476"/>
              <a:gd name="connsiteX4" fmla="*/ 0 w 3376509"/>
              <a:gd name="connsiteY4" fmla="*/ 6013476 h 6013476"/>
              <a:gd name="connsiteX5" fmla="*/ 0 w 3376509"/>
              <a:gd name="connsiteY5" fmla="*/ 0 h 6013476"/>
              <a:gd name="connsiteX0" fmla="*/ 0 w 3384939"/>
              <a:gd name="connsiteY0" fmla="*/ 0 h 6013476"/>
              <a:gd name="connsiteX1" fmla="*/ 3376055 w 3384939"/>
              <a:gd name="connsiteY1" fmla="*/ 0 h 6013476"/>
              <a:gd name="connsiteX2" fmla="*/ 3384584 w 3384939"/>
              <a:gd name="connsiteY2" fmla="*/ 4194690 h 6013476"/>
              <a:gd name="connsiteX3" fmla="*/ 2234330 w 3384939"/>
              <a:gd name="connsiteY3" fmla="*/ 6005841 h 6013476"/>
              <a:gd name="connsiteX4" fmla="*/ 0 w 3384939"/>
              <a:gd name="connsiteY4" fmla="*/ 6013476 h 6013476"/>
              <a:gd name="connsiteX5" fmla="*/ 0 w 3384939"/>
              <a:gd name="connsiteY5" fmla="*/ 0 h 6013476"/>
              <a:gd name="connsiteX0" fmla="*/ 0 w 3384939"/>
              <a:gd name="connsiteY0" fmla="*/ 0 h 6013476"/>
              <a:gd name="connsiteX1" fmla="*/ 3376055 w 3384939"/>
              <a:gd name="connsiteY1" fmla="*/ 0 h 6013476"/>
              <a:gd name="connsiteX2" fmla="*/ 3384584 w 3384939"/>
              <a:gd name="connsiteY2" fmla="*/ 4194690 h 6013476"/>
              <a:gd name="connsiteX3" fmla="*/ 2234330 w 3384939"/>
              <a:gd name="connsiteY3" fmla="*/ 6005841 h 6013476"/>
              <a:gd name="connsiteX4" fmla="*/ 0 w 3384939"/>
              <a:gd name="connsiteY4" fmla="*/ 6013476 h 6013476"/>
              <a:gd name="connsiteX5" fmla="*/ 0 w 3384939"/>
              <a:gd name="connsiteY5" fmla="*/ 0 h 6013476"/>
              <a:gd name="connsiteX0" fmla="*/ 0 w 3384611"/>
              <a:gd name="connsiteY0" fmla="*/ 0 h 6013476"/>
              <a:gd name="connsiteX1" fmla="*/ 3376055 w 3384611"/>
              <a:gd name="connsiteY1" fmla="*/ 0 h 6013476"/>
              <a:gd name="connsiteX2" fmla="*/ 3384584 w 3384611"/>
              <a:gd name="connsiteY2" fmla="*/ 4194690 h 6013476"/>
              <a:gd name="connsiteX3" fmla="*/ 2234330 w 3384611"/>
              <a:gd name="connsiteY3" fmla="*/ 6005841 h 6013476"/>
              <a:gd name="connsiteX4" fmla="*/ 0 w 3384611"/>
              <a:gd name="connsiteY4" fmla="*/ 6013476 h 6013476"/>
              <a:gd name="connsiteX5" fmla="*/ 0 w 3384611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102741 h 6013476"/>
              <a:gd name="connsiteX3" fmla="*/ 2234330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102741 h 6013476"/>
              <a:gd name="connsiteX3" fmla="*/ 2234330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047572 h 6013476"/>
              <a:gd name="connsiteX3" fmla="*/ 2234330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80370"/>
              <a:gd name="connsiteY0" fmla="*/ 0 h 6013476"/>
              <a:gd name="connsiteX1" fmla="*/ 3376055 w 3380370"/>
              <a:gd name="connsiteY1" fmla="*/ 0 h 6013476"/>
              <a:gd name="connsiteX2" fmla="*/ 3378404 w 3380370"/>
              <a:gd name="connsiteY2" fmla="*/ 4047572 h 6013476"/>
              <a:gd name="connsiteX3" fmla="*/ 2234330 w 3380370"/>
              <a:gd name="connsiteY3" fmla="*/ 6005841 h 6013476"/>
              <a:gd name="connsiteX4" fmla="*/ 0 w 3380370"/>
              <a:gd name="connsiteY4" fmla="*/ 6013476 h 6013476"/>
              <a:gd name="connsiteX5" fmla="*/ 0 w 3380370"/>
              <a:gd name="connsiteY5" fmla="*/ 0 h 6013476"/>
              <a:gd name="connsiteX0" fmla="*/ 0 w 3378827"/>
              <a:gd name="connsiteY0" fmla="*/ 0 h 6013476"/>
              <a:gd name="connsiteX1" fmla="*/ 3376055 w 3378827"/>
              <a:gd name="connsiteY1" fmla="*/ 0 h 6013476"/>
              <a:gd name="connsiteX2" fmla="*/ 3372224 w 3378827"/>
              <a:gd name="connsiteY2" fmla="*/ 4035312 h 6013476"/>
              <a:gd name="connsiteX3" fmla="*/ 2234330 w 3378827"/>
              <a:gd name="connsiteY3" fmla="*/ 6005841 h 6013476"/>
              <a:gd name="connsiteX4" fmla="*/ 0 w 3378827"/>
              <a:gd name="connsiteY4" fmla="*/ 6013476 h 6013476"/>
              <a:gd name="connsiteX5" fmla="*/ 0 w 3378827"/>
              <a:gd name="connsiteY5" fmla="*/ 0 h 6013476"/>
              <a:gd name="connsiteX0" fmla="*/ 0 w 3378827"/>
              <a:gd name="connsiteY0" fmla="*/ 0 h 6013476"/>
              <a:gd name="connsiteX1" fmla="*/ 3376055 w 3378827"/>
              <a:gd name="connsiteY1" fmla="*/ 0 h 6013476"/>
              <a:gd name="connsiteX2" fmla="*/ 3372224 w 3378827"/>
              <a:gd name="connsiteY2" fmla="*/ 4035312 h 6013476"/>
              <a:gd name="connsiteX3" fmla="*/ 2234330 w 3378827"/>
              <a:gd name="connsiteY3" fmla="*/ 6005841 h 6013476"/>
              <a:gd name="connsiteX4" fmla="*/ 0 w 3378827"/>
              <a:gd name="connsiteY4" fmla="*/ 6013476 h 6013476"/>
              <a:gd name="connsiteX5" fmla="*/ 0 w 3378827"/>
              <a:gd name="connsiteY5" fmla="*/ 0 h 6013476"/>
              <a:gd name="connsiteX0" fmla="*/ 0 w 3384612"/>
              <a:gd name="connsiteY0" fmla="*/ 0 h 6013476"/>
              <a:gd name="connsiteX1" fmla="*/ 3376055 w 3384612"/>
              <a:gd name="connsiteY1" fmla="*/ 0 h 6013476"/>
              <a:gd name="connsiteX2" fmla="*/ 3384585 w 3384612"/>
              <a:gd name="connsiteY2" fmla="*/ 3967882 h 6013476"/>
              <a:gd name="connsiteX3" fmla="*/ 2234330 w 3384612"/>
              <a:gd name="connsiteY3" fmla="*/ 6005841 h 6013476"/>
              <a:gd name="connsiteX4" fmla="*/ 0 w 3384612"/>
              <a:gd name="connsiteY4" fmla="*/ 6013476 h 6013476"/>
              <a:gd name="connsiteX5" fmla="*/ 0 w 3384612"/>
              <a:gd name="connsiteY5" fmla="*/ 0 h 6013476"/>
              <a:gd name="connsiteX0" fmla="*/ 0 w 3380371"/>
              <a:gd name="connsiteY0" fmla="*/ 0 h 6013476"/>
              <a:gd name="connsiteX1" fmla="*/ 3376055 w 3380371"/>
              <a:gd name="connsiteY1" fmla="*/ 0 h 6013476"/>
              <a:gd name="connsiteX2" fmla="*/ 3378405 w 3380371"/>
              <a:gd name="connsiteY2" fmla="*/ 3992402 h 6013476"/>
              <a:gd name="connsiteX3" fmla="*/ 2234330 w 3380371"/>
              <a:gd name="connsiteY3" fmla="*/ 6005841 h 6013476"/>
              <a:gd name="connsiteX4" fmla="*/ 0 w 3380371"/>
              <a:gd name="connsiteY4" fmla="*/ 6013476 h 6013476"/>
              <a:gd name="connsiteX5" fmla="*/ 0 w 3380371"/>
              <a:gd name="connsiteY5" fmla="*/ 0 h 601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0371" h="6013476">
                <a:moveTo>
                  <a:pt x="0" y="0"/>
                </a:moveTo>
                <a:lnTo>
                  <a:pt x="3376055" y="0"/>
                </a:lnTo>
                <a:cubicBezTo>
                  <a:pt x="3383972" y="1826362"/>
                  <a:pt x="3378617" y="3246285"/>
                  <a:pt x="3378405" y="3992402"/>
                </a:cubicBezTo>
                <a:lnTo>
                  <a:pt x="2234330" y="6005841"/>
                </a:lnTo>
                <a:lnTo>
                  <a:pt x="0" y="601347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360000" tIns="360000" rIns="360000" bIns="360000">
            <a:noAutofit/>
          </a:bodyPr>
          <a:lstStyle>
            <a:lvl1pPr marL="358775" indent="-358775">
              <a:buClr>
                <a:schemeClr val="tx1"/>
              </a:buClr>
              <a:buFont typeface="Wingdings" panose="05000000000000000000" pitchFamily="2" charset="2"/>
              <a:buChar char="§"/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tx1"/>
              </a:buClr>
              <a:buFont typeface="Arial" panose="020B0604020202020204" pitchFamily="34" charset="0"/>
              <a:buChar char="•"/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Font typeface="Symbol" panose="05050102010706020507" pitchFamily="18" charset="2"/>
              <a:buChar char="-"/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pc="0">
                <a:solidFill>
                  <a:schemeClr val="tx1"/>
                </a:solidFill>
              </a:defRPr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E292EBB7-7039-4D87-BCDC-FB6BB4FB0E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48588" y="4465671"/>
            <a:ext cx="1335600" cy="1335600"/>
          </a:xfrm>
          <a:prstGeom prst="ellipse">
            <a:avLst/>
          </a:prstGeom>
          <a:solidFill>
            <a:srgbClr val="FFC000"/>
          </a:solidFill>
        </p:spPr>
        <p:txBody>
          <a:bodyPr lIns="72000" tIns="72000" rIns="72000" bIns="7200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8BE6C9E-6DE4-F261-73AD-8E53562312E7}"/>
              </a:ext>
            </a:extLst>
          </p:cNvPr>
          <p:cNvSpPr txBox="1"/>
          <p:nvPr userDrawn="1"/>
        </p:nvSpPr>
        <p:spPr>
          <a:xfrm>
            <a:off x="9571512" y="606829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355600" indent="-355600" algn="l">
              <a:spcAft>
                <a:spcPts val="1200"/>
              </a:spcAft>
              <a:buClr>
                <a:schemeClr val="tx2"/>
              </a:buClr>
              <a:buFont typeface="Arial" panose="020B0604020202020204" pitchFamily="34" charset="0"/>
              <a:buChar char="&gt;"/>
            </a:pPr>
            <a:endParaRPr lang="de-DE" sz="1400" kern="600" dirty="0" err="1"/>
          </a:p>
        </p:txBody>
      </p:sp>
    </p:spTree>
    <p:extLst>
      <p:ext uri="{BB962C8B-B14F-4D97-AF65-F5344CB8AC3E}">
        <p14:creationId xmlns:p14="http://schemas.microsoft.com/office/powerpoint/2010/main" val="4196804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6">
          <p15:clr>
            <a:srgbClr val="F26B43"/>
          </p15:clr>
        </p15:guide>
        <p15:guide id="2" pos="2593">
          <p15:clr>
            <a:srgbClr val="F26B43"/>
          </p15:clr>
        </p15:guide>
        <p15:guide id="3" pos="2774">
          <p15:clr>
            <a:srgbClr val="F26B43"/>
          </p15:clr>
        </p15:guide>
        <p15:guide id="4" pos="5087">
          <p15:clr>
            <a:srgbClr val="F26B43"/>
          </p15:clr>
        </p15:guide>
        <p15:guide id="5" orient="horz" pos="754">
          <p15:clr>
            <a:srgbClr val="A4A3A4"/>
          </p15:clr>
        </p15:guide>
        <p15:guide id="6" orient="horz" pos="640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ATIV// Farbe_Stör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8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25D8821-8842-4553-8668-637C54FDB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03725" y="1052512"/>
            <a:ext cx="7416800" cy="5292725"/>
          </a:xfrm>
        </p:spPr>
        <p:txBody>
          <a:bodyPr/>
          <a:lstStyle>
            <a:lvl1pPr marL="358775" indent="-358775"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226C4E4-A2B3-4F91-ACF4-1386A1141A75}"/>
              </a:ext>
            </a:extLst>
          </p:cNvPr>
          <p:cNvGrpSpPr/>
          <p:nvPr/>
        </p:nvGrpSpPr>
        <p:grpSpPr>
          <a:xfrm>
            <a:off x="0" y="1052512"/>
            <a:ext cx="4130243" cy="5292725"/>
            <a:chOff x="-1" y="825214"/>
            <a:chExt cx="3438312" cy="1995722"/>
          </a:xfrm>
          <a:solidFill>
            <a:schemeClr val="accent1"/>
          </a:solidFill>
        </p:grpSpPr>
        <p:sp>
          <p:nvSpPr>
            <p:cNvPr id="20" name="Freeform 1">
              <a:extLst>
                <a:ext uri="{FF2B5EF4-FFF2-40B4-BE49-F238E27FC236}">
                  <a16:creationId xmlns:a16="http://schemas.microsoft.com/office/drawing/2014/main" id="{85B15F81-C7C5-4BF1-8B09-16557ED89E46}"/>
                </a:ext>
              </a:extLst>
            </p:cNvPr>
            <p:cNvSpPr/>
            <p:nvPr/>
          </p:nvSpPr>
          <p:spPr>
            <a:xfrm rot="10800000">
              <a:off x="-1" y="825214"/>
              <a:ext cx="3438312" cy="1851425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>
                <a:solidFill>
                  <a:schemeClr val="bg1"/>
                </a:solidFill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B52C9D7B-3DEC-4F20-A960-0AB2B7912A0C}"/>
                </a:ext>
              </a:extLst>
            </p:cNvPr>
            <p:cNvSpPr/>
            <p:nvPr/>
          </p:nvSpPr>
          <p:spPr>
            <a:xfrm rot="10800000">
              <a:off x="-1" y="969511"/>
              <a:ext cx="3438312" cy="1851425"/>
            </a:xfrm>
            <a:prstGeom prst="rect">
              <a:avLst/>
            </a:prstGeom>
            <a:grpFill/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ctr" anchorCtr="0">
              <a:noAutofit/>
            </a:bodyPr>
            <a:lstStyle/>
            <a:p>
              <a:pPr algn="ctr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400" b="1">
                <a:solidFill>
                  <a:schemeClr val="bg1"/>
                </a:solidFill>
              </a:endParaRPr>
            </a:p>
          </p:txBody>
        </p:sp>
      </p:grp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75DEA8E-1BB4-4543-A778-82112E437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768" y="1377539"/>
            <a:ext cx="3289360" cy="4726378"/>
          </a:xfrm>
        </p:spPr>
        <p:txBody>
          <a:bodyPr anchor="ctr">
            <a:noAutofit/>
          </a:bodyPr>
          <a:lstStyle>
            <a:lvl1pPr marL="0" indent="0">
              <a:buNone/>
              <a:defRPr sz="14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75763" y="1160463"/>
            <a:ext cx="1105200" cy="1105200"/>
          </a:xfrm>
          <a:prstGeom prst="ellipse">
            <a:avLst/>
          </a:prstGeom>
          <a:solidFill>
            <a:srgbClr val="FFC000"/>
          </a:solidFill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de-DE" sz="1200" kern="1200" baseline="0" dirty="0"/>
            </a:lvl1pPr>
          </a:lstStyle>
          <a:p>
            <a:pPr marL="0" lvl="0" indent="0" algn="ctr">
              <a:buNone/>
            </a:pPr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D119D023-FCC9-676F-1D07-FC48A38828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8874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26B43"/>
          </p15:clr>
        </p15:guide>
        <p15:guide id="2" orient="horz" pos="731">
          <p15:clr>
            <a:srgbClr val="FFFFFF"/>
          </p15:clr>
        </p15:guide>
        <p15:guide id="3" orient="horz" pos="210">
          <p15:clr>
            <a:srgbClr val="A4A3A4"/>
          </p15:clr>
        </p15:guide>
        <p15:guide id="4" pos="2774">
          <p15:clr>
            <a:srgbClr val="F26B43"/>
          </p15:clr>
        </p15:guide>
        <p15:guide id="5" pos="2389">
          <p15:clr>
            <a:srgbClr val="F26B43"/>
          </p15:clr>
        </p15:guide>
        <p15:guide id="6" pos="279">
          <p15:clr>
            <a:srgbClr val="F26B43"/>
          </p15:clr>
        </p15:guide>
        <p15:guide id="7" pos="4906">
          <p15:clr>
            <a:srgbClr val="F26B43"/>
          </p15:clr>
        </p15:guide>
        <p15:guide id="8" pos="5087">
          <p15:clr>
            <a:srgbClr val="F26B43"/>
          </p15:clr>
        </p15:guide>
        <p15:guide id="9" orient="horz" pos="1185">
          <p15:clr>
            <a:srgbClr val="F26B43"/>
          </p15:clr>
        </p15:guide>
        <p15:guide id="10" pos="483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2 Texten Hervorhebung (rech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8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25D8821-8842-4553-8668-637C54FDB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3789" y="1052512"/>
            <a:ext cx="7471283" cy="5292725"/>
          </a:xfrm>
        </p:spPr>
        <p:txBody>
          <a:bodyPr/>
          <a:lstStyle>
            <a:lvl1pPr marL="358775" indent="-358775"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Freeform 1">
            <a:extLst>
              <a:ext uri="{FF2B5EF4-FFF2-40B4-BE49-F238E27FC236}">
                <a16:creationId xmlns:a16="http://schemas.microsoft.com/office/drawing/2014/main" id="{85B15F81-C7C5-4BF1-8B09-16557ED89E46}"/>
              </a:ext>
            </a:extLst>
          </p:cNvPr>
          <p:cNvSpPr/>
          <p:nvPr/>
        </p:nvSpPr>
        <p:spPr>
          <a:xfrm rot="10800000">
            <a:off x="8061757" y="1052512"/>
            <a:ext cx="4130243" cy="5311712"/>
          </a:xfrm>
          <a:prstGeom prst="rect">
            <a:avLst/>
          </a:pr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75DEA8E-1BB4-4543-A778-82112E437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524526" y="1377539"/>
            <a:ext cx="3289360" cy="4726378"/>
          </a:xfrm>
        </p:spPr>
        <p:txBody>
          <a:bodyPr anchor="ctr">
            <a:noAutofit/>
          </a:bodyPr>
          <a:lstStyle>
            <a:lvl1pPr marL="0" indent="0">
              <a:buNone/>
              <a:defRPr sz="14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05971" y="1111695"/>
            <a:ext cx="1105200" cy="1105200"/>
          </a:xfrm>
          <a:prstGeom prst="ellipse">
            <a:avLst/>
          </a:prstGeom>
          <a:solidFill>
            <a:srgbClr val="FFC000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styles</a:t>
            </a:r>
            <a:endParaRPr lang="de-DE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D119D023-FCC9-676F-1D07-FC48A38828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5333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26B43"/>
          </p15:clr>
        </p15:guide>
        <p15:guide id="2" orient="horz" pos="731">
          <p15:clr>
            <a:srgbClr val="FFFFFF"/>
          </p15:clr>
        </p15:guide>
        <p15:guide id="3" orient="horz" pos="210">
          <p15:clr>
            <a:srgbClr val="A4A3A4"/>
          </p15:clr>
        </p15:guide>
        <p15:guide id="4" pos="2774">
          <p15:clr>
            <a:srgbClr val="F26B43"/>
          </p15:clr>
        </p15:guide>
        <p15:guide id="5" pos="2389">
          <p15:clr>
            <a:srgbClr val="F26B43"/>
          </p15:clr>
        </p15:guide>
        <p15:guide id="6" pos="279">
          <p15:clr>
            <a:srgbClr val="F26B43"/>
          </p15:clr>
        </p15:guide>
        <p15:guide id="7" pos="4906">
          <p15:clr>
            <a:srgbClr val="F26B43"/>
          </p15:clr>
        </p15:guide>
        <p15:guide id="8" pos="5087">
          <p15:clr>
            <a:srgbClr val="F26B43"/>
          </p15:clr>
        </p15:guide>
        <p15:guide id="9" orient="horz" pos="1185">
          <p15:clr>
            <a:srgbClr val="F26B43"/>
          </p15:clr>
        </p15:guide>
        <p15:guide id="10" pos="483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ATIV// Farbe_Stör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8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25D8821-8842-4553-8668-637C54FDB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3789" y="1052512"/>
            <a:ext cx="9183669" cy="5292725"/>
          </a:xfrm>
        </p:spPr>
        <p:txBody>
          <a:bodyPr/>
          <a:lstStyle>
            <a:lvl1pPr marL="358775" indent="-358775"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Freeform 1">
            <a:extLst>
              <a:ext uri="{FF2B5EF4-FFF2-40B4-BE49-F238E27FC236}">
                <a16:creationId xmlns:a16="http://schemas.microsoft.com/office/drawing/2014/main" id="{85B15F81-C7C5-4BF1-8B09-16557ED89E46}"/>
              </a:ext>
            </a:extLst>
          </p:cNvPr>
          <p:cNvSpPr/>
          <p:nvPr/>
        </p:nvSpPr>
        <p:spPr>
          <a:xfrm rot="10800000">
            <a:off x="9674941" y="1052512"/>
            <a:ext cx="2517058" cy="5311712"/>
          </a:xfrm>
          <a:prstGeom prst="rect">
            <a:avLst/>
          </a:prstGeom>
          <a:solidFill>
            <a:schemeClr val="accent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75DEA8E-1BB4-4543-A778-82112E437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07677" y="1377539"/>
            <a:ext cx="2265261" cy="4726378"/>
          </a:xfrm>
        </p:spPr>
        <p:txBody>
          <a:bodyPr anchor="ctr">
            <a:noAutofit/>
          </a:bodyPr>
          <a:lstStyle>
            <a:lvl1pPr marL="0" indent="0">
              <a:buNone/>
              <a:defRPr sz="14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97003" y="775988"/>
            <a:ext cx="1105200" cy="1105200"/>
          </a:xfrm>
          <a:prstGeom prst="ellipse">
            <a:avLst/>
          </a:prstGeom>
          <a:solidFill>
            <a:srgbClr val="FFC000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styles</a:t>
            </a:r>
            <a:endParaRPr lang="de-DE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D119D023-FCC9-676F-1D07-FC48A38828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0602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26B43"/>
          </p15:clr>
        </p15:guide>
        <p15:guide id="2" orient="horz" pos="731">
          <p15:clr>
            <a:srgbClr val="FFFFFF"/>
          </p15:clr>
        </p15:guide>
        <p15:guide id="3" orient="horz" pos="210">
          <p15:clr>
            <a:srgbClr val="A4A3A4"/>
          </p15:clr>
        </p15:guide>
        <p15:guide id="4" pos="2774">
          <p15:clr>
            <a:srgbClr val="F26B43"/>
          </p15:clr>
        </p15:guide>
        <p15:guide id="5" pos="2389">
          <p15:clr>
            <a:srgbClr val="F26B43"/>
          </p15:clr>
        </p15:guide>
        <p15:guide id="6" pos="279">
          <p15:clr>
            <a:srgbClr val="F26B43"/>
          </p15:clr>
        </p15:guide>
        <p15:guide id="7" pos="4906">
          <p15:clr>
            <a:srgbClr val="F26B43"/>
          </p15:clr>
        </p15:guide>
        <p15:guide id="8" pos="5087">
          <p15:clr>
            <a:srgbClr val="F26B43"/>
          </p15:clr>
        </p15:guide>
        <p15:guide id="9" orient="horz" pos="1185">
          <p15:clr>
            <a:srgbClr val="F26B43"/>
          </p15:clr>
        </p15:guide>
        <p15:guide id="10" pos="483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lila_Log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540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2D7706-4C35-4835-E4FB-151EC975B1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LineDraw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018"/>
          <a:stretch/>
        </p:blipFill>
        <p:spPr>
          <a:xfrm>
            <a:off x="4571999" y="-56080"/>
            <a:ext cx="7620001" cy="7519462"/>
          </a:xfrm>
          <a:prstGeom prst="rect">
            <a:avLst/>
          </a:prstGeom>
        </p:spPr>
      </p:pic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B73A5870-9AF4-FE3B-1AFD-C675FD16FC9D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600" b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CCFA8D74-B1F7-4ED6-E472-26AB40C57A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1225954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C9AE039E-EB31-F51A-6DED-59014A9AFF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494342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0830D7F5-AF6F-3F55-BAD1-3454D14A28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4713" y="4438354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>
                    <a:lumMod val="95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Verfasser</a:t>
            </a:r>
          </a:p>
        </p:txBody>
      </p:sp>
      <p:sp>
        <p:nvSpPr>
          <p:cNvPr id="4" name="Text Placeholder 20">
            <a:extLst>
              <a:ext uri="{FF2B5EF4-FFF2-40B4-BE49-F238E27FC236}">
                <a16:creationId xmlns:a16="http://schemas.microsoft.com/office/drawing/2014/main" id="{628622B4-12EA-E4DC-A2F8-BBD23D69F3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4713" y="5314118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>
                    <a:lumMod val="95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  <a:endParaRPr lang="de-DE" dirty="0"/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0E0E524E-33DF-FA41-9F51-EBEDD21936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6707" y="4824719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4DCF0DF6-0F44-0AC0-53B5-36B1695A6F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6707" y="5687604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4F5E27F-C2D7-B37F-F0CB-10E5C8BA4F6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381999" y="2369757"/>
            <a:ext cx="3159291" cy="3159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87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32">
          <p15:clr>
            <a:srgbClr val="F26B43"/>
          </p15:clr>
        </p15:guide>
        <p15:guide id="2" pos="642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64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7197">
          <p15:clr>
            <a:srgbClr val="A4A3A4"/>
          </p15:clr>
        </p15:guide>
        <p15:guide id="8" orient="horz" pos="4065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ATIV// Farbe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45AC-2DA8-4EF2-BE2D-AC365ED533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8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45AC-2DA8-4EF2-BE2D-AC365ED533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A8991B8-0023-4A52-B621-2606C00CC0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1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25D8821-8842-4553-8668-637C54FDB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3789" y="1052512"/>
            <a:ext cx="9183669" cy="5292725"/>
          </a:xfrm>
        </p:spPr>
        <p:txBody>
          <a:bodyPr/>
          <a:lstStyle>
            <a:lvl1pPr marL="358775" indent="-358775"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363" indent="-360363"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0" name="Freeform 1">
            <a:extLst>
              <a:ext uri="{FF2B5EF4-FFF2-40B4-BE49-F238E27FC236}">
                <a16:creationId xmlns:a16="http://schemas.microsoft.com/office/drawing/2014/main" id="{85B15F81-C7C5-4BF1-8B09-16557ED89E46}"/>
              </a:ext>
            </a:extLst>
          </p:cNvPr>
          <p:cNvSpPr/>
          <p:nvPr/>
        </p:nvSpPr>
        <p:spPr>
          <a:xfrm rot="10800000">
            <a:off x="9674941" y="1052512"/>
            <a:ext cx="2517058" cy="5311712"/>
          </a:xfrm>
          <a:prstGeom prst="rect">
            <a:avLst/>
          </a:prstGeom>
          <a:solidFill>
            <a:schemeClr val="accent6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175DEA8E-1BB4-4543-A778-82112E437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07677" y="1377539"/>
            <a:ext cx="2265261" cy="4726378"/>
          </a:xfrm>
        </p:spPr>
        <p:txBody>
          <a:bodyPr anchor="ctr">
            <a:noAutofit/>
          </a:bodyPr>
          <a:lstStyle>
            <a:lvl1pPr marL="0" indent="0">
              <a:buNone/>
              <a:defRPr sz="1400" spc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buNone/>
              <a:defRPr sz="1200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9" name="Text Placeholder 61">
            <a:extLst>
              <a:ext uri="{FF2B5EF4-FFF2-40B4-BE49-F238E27FC236}">
                <a16:creationId xmlns:a16="http://schemas.microsoft.com/office/drawing/2014/main" id="{7E867A1C-F2D3-4594-962F-3D4EDD6E5E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97003" y="775988"/>
            <a:ext cx="1105200" cy="1105200"/>
          </a:xfrm>
          <a:prstGeom prst="ellipse">
            <a:avLst/>
          </a:prstGeom>
          <a:solidFill>
            <a:srgbClr val="FFC000"/>
          </a:solidFill>
        </p:spPr>
        <p:txBody>
          <a:bodyPr lIns="0" tIns="0" rIns="0" bIns="0" anchor="ctr">
            <a:noAutofit/>
          </a:bodyPr>
          <a:lstStyle>
            <a:lvl1pPr marL="0" indent="0" algn="ctr">
              <a:spcAft>
                <a:spcPts val="1200"/>
              </a:spcAft>
              <a:buNone/>
              <a:defRPr sz="1200" kern="1200" spc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styles</a:t>
            </a:r>
            <a:endParaRPr lang="de-DE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D119D023-FCC9-676F-1D07-FC48A38828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7794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26B43"/>
          </p15:clr>
        </p15:guide>
        <p15:guide id="2" orient="horz" pos="731">
          <p15:clr>
            <a:srgbClr val="FFFFFF"/>
          </p15:clr>
        </p15:guide>
        <p15:guide id="3" orient="horz" pos="210">
          <p15:clr>
            <a:srgbClr val="A4A3A4"/>
          </p15:clr>
        </p15:guide>
        <p15:guide id="4" pos="2774">
          <p15:clr>
            <a:srgbClr val="F26B43"/>
          </p15:clr>
        </p15:guide>
        <p15:guide id="5" pos="2389">
          <p15:clr>
            <a:srgbClr val="F26B43"/>
          </p15:clr>
        </p15:guide>
        <p15:guide id="6" pos="279">
          <p15:clr>
            <a:srgbClr val="F26B43"/>
          </p15:clr>
        </p15:guide>
        <p15:guide id="7" pos="4906">
          <p15:clr>
            <a:srgbClr val="F26B43"/>
          </p15:clr>
        </p15:guide>
        <p15:guide id="8" pos="5087">
          <p15:clr>
            <a:srgbClr val="F26B43"/>
          </p15:clr>
        </p15:guide>
        <p15:guide id="9" orient="horz" pos="1185">
          <p15:clr>
            <a:srgbClr val="F26B43"/>
          </p15:clr>
        </p15:guide>
        <p15:guide id="10" pos="483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AU // Bildplatzhalter">
    <p:bg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754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7EB04B2-B630-41B2-AFB3-553D6397A80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181757" y="-22008"/>
            <a:ext cx="8010243" cy="6880008"/>
          </a:xfrm>
          <a:custGeom>
            <a:avLst/>
            <a:gdLst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706883 w 6969759"/>
              <a:gd name="connsiteY4" fmla="*/ 1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833898 w 6969759"/>
              <a:gd name="connsiteY5" fmla="*/ 1 h 6858000"/>
              <a:gd name="connsiteX6" fmla="*/ 911532 w 6969759"/>
              <a:gd name="connsiteY6" fmla="*/ 119595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0 w 6969759"/>
              <a:gd name="connsiteY0" fmla="*/ 0 h 6858000"/>
              <a:gd name="connsiteX1" fmla="*/ 6969759 w 6969759"/>
              <a:gd name="connsiteY1" fmla="*/ 448472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833898 w 6969759"/>
              <a:gd name="connsiteY5" fmla="*/ 1 h 6858000"/>
              <a:gd name="connsiteX6" fmla="*/ 911532 w 6969759"/>
              <a:gd name="connsiteY6" fmla="*/ 119595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0 w 6969759"/>
              <a:gd name="connsiteY0" fmla="*/ 0 h 6858000"/>
              <a:gd name="connsiteX1" fmla="*/ 6969759 w 6969759"/>
              <a:gd name="connsiteY1" fmla="*/ 448472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3460528 w 6969759"/>
              <a:gd name="connsiteY5" fmla="*/ 508268 h 6858000"/>
              <a:gd name="connsiteX6" fmla="*/ 911532 w 6969759"/>
              <a:gd name="connsiteY6" fmla="*/ 119595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0 w 6969759"/>
              <a:gd name="connsiteY0" fmla="*/ 0 h 6858000"/>
              <a:gd name="connsiteX1" fmla="*/ 6969759 w 6969759"/>
              <a:gd name="connsiteY1" fmla="*/ 448472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3460528 w 6969759"/>
              <a:gd name="connsiteY5" fmla="*/ 508268 h 6858000"/>
              <a:gd name="connsiteX6" fmla="*/ 3460527 w 6969759"/>
              <a:gd name="connsiteY6" fmla="*/ 493321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3765268 w 6969759"/>
              <a:gd name="connsiteY0" fmla="*/ 328875 h 6857996"/>
              <a:gd name="connsiteX1" fmla="*/ 6969759 w 6969759"/>
              <a:gd name="connsiteY1" fmla="*/ 448468 h 6857996"/>
              <a:gd name="connsiteX2" fmla="*/ 6969759 w 6969759"/>
              <a:gd name="connsiteY2" fmla="*/ 6857996 h 6857996"/>
              <a:gd name="connsiteX3" fmla="*/ 508945 w 6969759"/>
              <a:gd name="connsiteY3" fmla="*/ 6857996 h 6857996"/>
              <a:gd name="connsiteX4" fmla="*/ 3486919 w 6969759"/>
              <a:gd name="connsiteY4" fmla="*/ 493315 h 6857996"/>
              <a:gd name="connsiteX5" fmla="*/ 3460528 w 6969759"/>
              <a:gd name="connsiteY5" fmla="*/ 508264 h 6857996"/>
              <a:gd name="connsiteX6" fmla="*/ 3460527 w 6969759"/>
              <a:gd name="connsiteY6" fmla="*/ 493317 h 6857996"/>
              <a:gd name="connsiteX7" fmla="*/ 0 w 6969759"/>
              <a:gd name="connsiteY7" fmla="*/ 0 h 6857996"/>
              <a:gd name="connsiteX8" fmla="*/ 3765268 w 6969759"/>
              <a:gd name="connsiteY8" fmla="*/ 328875 h 6857996"/>
              <a:gd name="connsiteX0" fmla="*/ 3256323 w 6460814"/>
              <a:gd name="connsiteY0" fmla="*/ 0 h 6529121"/>
              <a:gd name="connsiteX1" fmla="*/ 6460814 w 6460814"/>
              <a:gd name="connsiteY1" fmla="*/ 119593 h 6529121"/>
              <a:gd name="connsiteX2" fmla="*/ 6460814 w 6460814"/>
              <a:gd name="connsiteY2" fmla="*/ 6529121 h 6529121"/>
              <a:gd name="connsiteX3" fmla="*/ 0 w 6460814"/>
              <a:gd name="connsiteY3" fmla="*/ 6529121 h 6529121"/>
              <a:gd name="connsiteX4" fmla="*/ 2977974 w 6460814"/>
              <a:gd name="connsiteY4" fmla="*/ 164440 h 6529121"/>
              <a:gd name="connsiteX5" fmla="*/ 2951583 w 6460814"/>
              <a:gd name="connsiteY5" fmla="*/ 179389 h 6529121"/>
              <a:gd name="connsiteX6" fmla="*/ 2951582 w 6460814"/>
              <a:gd name="connsiteY6" fmla="*/ 164442 h 6529121"/>
              <a:gd name="connsiteX7" fmla="*/ 1936538 w 6460814"/>
              <a:gd name="connsiteY7" fmla="*/ 44851 h 6529121"/>
              <a:gd name="connsiteX8" fmla="*/ 3256323 w 6460814"/>
              <a:gd name="connsiteY8" fmla="*/ 0 h 6529121"/>
              <a:gd name="connsiteX0" fmla="*/ 3256323 w 6460814"/>
              <a:gd name="connsiteY0" fmla="*/ 0 h 6529121"/>
              <a:gd name="connsiteX1" fmla="*/ 6460814 w 6460814"/>
              <a:gd name="connsiteY1" fmla="*/ 119593 h 6529121"/>
              <a:gd name="connsiteX2" fmla="*/ 6460814 w 6460814"/>
              <a:gd name="connsiteY2" fmla="*/ 6529121 h 6529121"/>
              <a:gd name="connsiteX3" fmla="*/ 0 w 6460814"/>
              <a:gd name="connsiteY3" fmla="*/ 6529121 h 6529121"/>
              <a:gd name="connsiteX4" fmla="*/ 2977974 w 6460814"/>
              <a:gd name="connsiteY4" fmla="*/ 164440 h 6529121"/>
              <a:gd name="connsiteX5" fmla="*/ 2951583 w 6460814"/>
              <a:gd name="connsiteY5" fmla="*/ 179389 h 6529121"/>
              <a:gd name="connsiteX6" fmla="*/ 2951582 w 6460814"/>
              <a:gd name="connsiteY6" fmla="*/ 164442 h 6529121"/>
              <a:gd name="connsiteX7" fmla="*/ 2997542 w 6460814"/>
              <a:gd name="connsiteY7" fmla="*/ 44851 h 6529121"/>
              <a:gd name="connsiteX8" fmla="*/ 3256323 w 6460814"/>
              <a:gd name="connsiteY8" fmla="*/ 0 h 6529121"/>
              <a:gd name="connsiteX0" fmla="*/ 3256323 w 6460814"/>
              <a:gd name="connsiteY0" fmla="*/ 0 h 6529121"/>
              <a:gd name="connsiteX1" fmla="*/ 6460814 w 6460814"/>
              <a:gd name="connsiteY1" fmla="*/ 119593 h 6529121"/>
              <a:gd name="connsiteX2" fmla="*/ 6460814 w 6460814"/>
              <a:gd name="connsiteY2" fmla="*/ 6529121 h 6529121"/>
              <a:gd name="connsiteX3" fmla="*/ 0 w 6460814"/>
              <a:gd name="connsiteY3" fmla="*/ 6529121 h 6529121"/>
              <a:gd name="connsiteX4" fmla="*/ 2977974 w 6460814"/>
              <a:gd name="connsiteY4" fmla="*/ 164440 h 6529121"/>
              <a:gd name="connsiteX5" fmla="*/ 2951583 w 6460814"/>
              <a:gd name="connsiteY5" fmla="*/ 179389 h 6529121"/>
              <a:gd name="connsiteX6" fmla="*/ 2951582 w 6460814"/>
              <a:gd name="connsiteY6" fmla="*/ 164442 h 6529121"/>
              <a:gd name="connsiteX7" fmla="*/ 2997542 w 6460814"/>
              <a:gd name="connsiteY7" fmla="*/ 44851 h 6529121"/>
              <a:gd name="connsiteX8" fmla="*/ 3256323 w 6460814"/>
              <a:gd name="connsiteY8" fmla="*/ 0 h 6529121"/>
              <a:gd name="connsiteX0" fmla="*/ 3023421 w 6460814"/>
              <a:gd name="connsiteY0" fmla="*/ 119588 h 6484270"/>
              <a:gd name="connsiteX1" fmla="*/ 6460814 w 6460814"/>
              <a:gd name="connsiteY1" fmla="*/ 74742 h 6484270"/>
              <a:gd name="connsiteX2" fmla="*/ 6460814 w 6460814"/>
              <a:gd name="connsiteY2" fmla="*/ 6484270 h 6484270"/>
              <a:gd name="connsiteX3" fmla="*/ 0 w 6460814"/>
              <a:gd name="connsiteY3" fmla="*/ 6484270 h 6484270"/>
              <a:gd name="connsiteX4" fmla="*/ 2977974 w 6460814"/>
              <a:gd name="connsiteY4" fmla="*/ 119589 h 6484270"/>
              <a:gd name="connsiteX5" fmla="*/ 2951583 w 6460814"/>
              <a:gd name="connsiteY5" fmla="*/ 134538 h 6484270"/>
              <a:gd name="connsiteX6" fmla="*/ 2951582 w 6460814"/>
              <a:gd name="connsiteY6" fmla="*/ 119591 h 6484270"/>
              <a:gd name="connsiteX7" fmla="*/ 2997542 w 6460814"/>
              <a:gd name="connsiteY7" fmla="*/ 0 h 6484270"/>
              <a:gd name="connsiteX8" fmla="*/ 3023421 w 6460814"/>
              <a:gd name="connsiteY8" fmla="*/ 119588 h 6484270"/>
              <a:gd name="connsiteX0" fmla="*/ 3028543 w 6460814"/>
              <a:gd name="connsiteY0" fmla="*/ 95919 h 6484270"/>
              <a:gd name="connsiteX1" fmla="*/ 6460814 w 6460814"/>
              <a:gd name="connsiteY1" fmla="*/ 74742 h 6484270"/>
              <a:gd name="connsiteX2" fmla="*/ 6460814 w 6460814"/>
              <a:gd name="connsiteY2" fmla="*/ 6484270 h 6484270"/>
              <a:gd name="connsiteX3" fmla="*/ 0 w 6460814"/>
              <a:gd name="connsiteY3" fmla="*/ 6484270 h 6484270"/>
              <a:gd name="connsiteX4" fmla="*/ 2977974 w 6460814"/>
              <a:gd name="connsiteY4" fmla="*/ 119589 h 6484270"/>
              <a:gd name="connsiteX5" fmla="*/ 2951583 w 6460814"/>
              <a:gd name="connsiteY5" fmla="*/ 134538 h 6484270"/>
              <a:gd name="connsiteX6" fmla="*/ 2951582 w 6460814"/>
              <a:gd name="connsiteY6" fmla="*/ 119591 h 6484270"/>
              <a:gd name="connsiteX7" fmla="*/ 2997542 w 6460814"/>
              <a:gd name="connsiteY7" fmla="*/ 0 h 6484270"/>
              <a:gd name="connsiteX8" fmla="*/ 3028543 w 6460814"/>
              <a:gd name="connsiteY8" fmla="*/ 95919 h 6484270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77974 w 6460814"/>
              <a:gd name="connsiteY4" fmla="*/ 44847 h 6409528"/>
              <a:gd name="connsiteX5" fmla="*/ 2951583 w 6460814"/>
              <a:gd name="connsiteY5" fmla="*/ 59796 h 6409528"/>
              <a:gd name="connsiteX6" fmla="*/ 2951582 w 6460814"/>
              <a:gd name="connsiteY6" fmla="*/ 44849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77974 w 6460814"/>
              <a:gd name="connsiteY4" fmla="*/ 44847 h 6409528"/>
              <a:gd name="connsiteX5" fmla="*/ 2951583 w 6460814"/>
              <a:gd name="connsiteY5" fmla="*/ 59796 h 6409528"/>
              <a:gd name="connsiteX6" fmla="*/ 2951582 w 6460814"/>
              <a:gd name="connsiteY6" fmla="*/ 44849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77974 w 6460814"/>
              <a:gd name="connsiteY4" fmla="*/ 44847 h 6409528"/>
              <a:gd name="connsiteX5" fmla="*/ 2951583 w 6460814"/>
              <a:gd name="connsiteY5" fmla="*/ 59796 h 6409528"/>
              <a:gd name="connsiteX6" fmla="*/ 2989995 w 6460814"/>
              <a:gd name="connsiteY6" fmla="*/ 24138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77974 w 6460814"/>
              <a:gd name="connsiteY4" fmla="*/ 44847 h 6409528"/>
              <a:gd name="connsiteX5" fmla="*/ 2989996 w 6460814"/>
              <a:gd name="connsiteY5" fmla="*/ 18374 h 6409528"/>
              <a:gd name="connsiteX6" fmla="*/ 2989995 w 6460814"/>
              <a:gd name="connsiteY6" fmla="*/ 24138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93339 w 6460814"/>
              <a:gd name="connsiteY4" fmla="*/ 18219 h 6409528"/>
              <a:gd name="connsiteX5" fmla="*/ 2989996 w 6460814"/>
              <a:gd name="connsiteY5" fmla="*/ 18374 h 6409528"/>
              <a:gd name="connsiteX6" fmla="*/ 2989995 w 6460814"/>
              <a:gd name="connsiteY6" fmla="*/ 24138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18218 h 6406569"/>
              <a:gd name="connsiteX1" fmla="*/ 6460814 w 6460814"/>
              <a:gd name="connsiteY1" fmla="*/ 0 h 6406569"/>
              <a:gd name="connsiteX2" fmla="*/ 6460814 w 6460814"/>
              <a:gd name="connsiteY2" fmla="*/ 6406569 h 6406569"/>
              <a:gd name="connsiteX3" fmla="*/ 0 w 6460814"/>
              <a:gd name="connsiteY3" fmla="*/ 6406569 h 6406569"/>
              <a:gd name="connsiteX4" fmla="*/ 2993339 w 6460814"/>
              <a:gd name="connsiteY4" fmla="*/ 15260 h 6406569"/>
              <a:gd name="connsiteX5" fmla="*/ 2989996 w 6460814"/>
              <a:gd name="connsiteY5" fmla="*/ 15415 h 6406569"/>
              <a:gd name="connsiteX6" fmla="*/ 2989995 w 6460814"/>
              <a:gd name="connsiteY6" fmla="*/ 21179 h 6406569"/>
              <a:gd name="connsiteX7" fmla="*/ 3023151 w 6460814"/>
              <a:gd name="connsiteY7" fmla="*/ 14018 h 6406569"/>
              <a:gd name="connsiteX8" fmla="*/ 3028543 w 6460814"/>
              <a:gd name="connsiteY8" fmla="*/ 18218 h 6406569"/>
              <a:gd name="connsiteX0" fmla="*/ 3028543 w 6460814"/>
              <a:gd name="connsiteY0" fmla="*/ 18218 h 6406569"/>
              <a:gd name="connsiteX1" fmla="*/ 6460814 w 6460814"/>
              <a:gd name="connsiteY1" fmla="*/ 0 h 6406569"/>
              <a:gd name="connsiteX2" fmla="*/ 6460814 w 6460814"/>
              <a:gd name="connsiteY2" fmla="*/ 6406569 h 6406569"/>
              <a:gd name="connsiteX3" fmla="*/ 0 w 6460814"/>
              <a:gd name="connsiteY3" fmla="*/ 6406569 h 6406569"/>
              <a:gd name="connsiteX4" fmla="*/ 2993339 w 6460814"/>
              <a:gd name="connsiteY4" fmla="*/ 15260 h 6406569"/>
              <a:gd name="connsiteX5" fmla="*/ 2989996 w 6460814"/>
              <a:gd name="connsiteY5" fmla="*/ 15415 h 6406569"/>
              <a:gd name="connsiteX6" fmla="*/ 3023151 w 6460814"/>
              <a:gd name="connsiteY6" fmla="*/ 14018 h 6406569"/>
              <a:gd name="connsiteX7" fmla="*/ 3028543 w 6460814"/>
              <a:gd name="connsiteY7" fmla="*/ 18218 h 6406569"/>
              <a:gd name="connsiteX0" fmla="*/ 3028543 w 6460814"/>
              <a:gd name="connsiteY0" fmla="*/ 18218 h 6406569"/>
              <a:gd name="connsiteX1" fmla="*/ 6460814 w 6460814"/>
              <a:gd name="connsiteY1" fmla="*/ 0 h 6406569"/>
              <a:gd name="connsiteX2" fmla="*/ 6460814 w 6460814"/>
              <a:gd name="connsiteY2" fmla="*/ 6406569 h 6406569"/>
              <a:gd name="connsiteX3" fmla="*/ 0 w 6460814"/>
              <a:gd name="connsiteY3" fmla="*/ 6406569 h 6406569"/>
              <a:gd name="connsiteX4" fmla="*/ 2993339 w 6460814"/>
              <a:gd name="connsiteY4" fmla="*/ 15260 h 6406569"/>
              <a:gd name="connsiteX5" fmla="*/ 3023151 w 6460814"/>
              <a:gd name="connsiteY5" fmla="*/ 14018 h 6406569"/>
              <a:gd name="connsiteX6" fmla="*/ 3028543 w 6460814"/>
              <a:gd name="connsiteY6" fmla="*/ 18218 h 6406569"/>
              <a:gd name="connsiteX0" fmla="*/ 3028543 w 6460814"/>
              <a:gd name="connsiteY0" fmla="*/ 18218 h 6406569"/>
              <a:gd name="connsiteX1" fmla="*/ 6460814 w 6460814"/>
              <a:gd name="connsiteY1" fmla="*/ 0 h 6406569"/>
              <a:gd name="connsiteX2" fmla="*/ 6460814 w 6460814"/>
              <a:gd name="connsiteY2" fmla="*/ 6406569 h 6406569"/>
              <a:gd name="connsiteX3" fmla="*/ 0 w 6460814"/>
              <a:gd name="connsiteY3" fmla="*/ 6406569 h 6406569"/>
              <a:gd name="connsiteX4" fmla="*/ 3023151 w 6460814"/>
              <a:gd name="connsiteY4" fmla="*/ 14018 h 6406569"/>
              <a:gd name="connsiteX5" fmla="*/ 3028543 w 6460814"/>
              <a:gd name="connsiteY5" fmla="*/ 18218 h 6406569"/>
              <a:gd name="connsiteX0" fmla="*/ 3028543 w 6460814"/>
              <a:gd name="connsiteY0" fmla="*/ 22879 h 6411230"/>
              <a:gd name="connsiteX1" fmla="*/ 6460814 w 6460814"/>
              <a:gd name="connsiteY1" fmla="*/ 4661 h 6411230"/>
              <a:gd name="connsiteX2" fmla="*/ 6460814 w 6460814"/>
              <a:gd name="connsiteY2" fmla="*/ 6411230 h 6411230"/>
              <a:gd name="connsiteX3" fmla="*/ 0 w 6460814"/>
              <a:gd name="connsiteY3" fmla="*/ 6411230 h 6411230"/>
              <a:gd name="connsiteX4" fmla="*/ 3023151 w 6460814"/>
              <a:gd name="connsiteY4" fmla="*/ 18679 h 6411230"/>
              <a:gd name="connsiteX5" fmla="*/ 3028543 w 6460814"/>
              <a:gd name="connsiteY5" fmla="*/ 22879 h 6411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60814" h="6411230">
                <a:moveTo>
                  <a:pt x="3028543" y="22879"/>
                </a:moveTo>
                <a:lnTo>
                  <a:pt x="6460814" y="4661"/>
                </a:lnTo>
                <a:lnTo>
                  <a:pt x="6460814" y="6411230"/>
                </a:lnTo>
                <a:lnTo>
                  <a:pt x="0" y="6411230"/>
                </a:lnTo>
                <a:lnTo>
                  <a:pt x="3023151" y="18679"/>
                </a:lnTo>
                <a:cubicBezTo>
                  <a:pt x="2995386" y="25997"/>
                  <a:pt x="2942283" y="-29798"/>
                  <a:pt x="3028543" y="22879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ic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de-DE" dirty="0"/>
          </a:p>
        </p:txBody>
      </p:sp>
      <p:pic>
        <p:nvPicPr>
          <p:cNvPr id="12" name="Grafik 11">
            <a:hlinkClick r:id="" action="ppaction://noaction"/>
            <a:extLst>
              <a:ext uri="{FF2B5EF4-FFF2-40B4-BE49-F238E27FC236}">
                <a16:creationId xmlns:a16="http://schemas.microsoft.com/office/drawing/2014/main" id="{01A60FA7-A580-2ABE-9E5F-F0440A069A8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4206" y="4636153"/>
            <a:ext cx="1977193" cy="1977193"/>
          </a:xfrm>
          <a:prstGeom prst="rect">
            <a:avLst/>
          </a:prstGeom>
        </p:spPr>
      </p:pic>
      <p:sp>
        <p:nvSpPr>
          <p:cNvPr id="2" name="Title 8">
            <a:extLst>
              <a:ext uri="{FF2B5EF4-FFF2-40B4-BE49-F238E27FC236}">
                <a16:creationId xmlns:a16="http://schemas.microsoft.com/office/drawing/2014/main" id="{0BF6F230-E8D8-02D6-A6EC-FCDBB3A806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377" y="2187806"/>
            <a:ext cx="6050183" cy="1225954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849501EB-E31F-63B1-630F-9FC66E4ABA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2375" y="3494342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8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347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ILA // Bild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581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D17C017F-76C8-4520-8E7D-038F187A2379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accent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F10343E-0676-F01D-3DF6-083D9C97DB1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181757" y="-22008"/>
            <a:ext cx="8010243" cy="6880008"/>
          </a:xfrm>
          <a:custGeom>
            <a:avLst/>
            <a:gdLst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706883 w 6969759"/>
              <a:gd name="connsiteY4" fmla="*/ 1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833898 w 6969759"/>
              <a:gd name="connsiteY5" fmla="*/ 1 h 6858000"/>
              <a:gd name="connsiteX6" fmla="*/ 911532 w 6969759"/>
              <a:gd name="connsiteY6" fmla="*/ 119595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0 w 6969759"/>
              <a:gd name="connsiteY0" fmla="*/ 0 h 6858000"/>
              <a:gd name="connsiteX1" fmla="*/ 6969759 w 6969759"/>
              <a:gd name="connsiteY1" fmla="*/ 448472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833898 w 6969759"/>
              <a:gd name="connsiteY5" fmla="*/ 1 h 6858000"/>
              <a:gd name="connsiteX6" fmla="*/ 911532 w 6969759"/>
              <a:gd name="connsiteY6" fmla="*/ 119595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0 w 6969759"/>
              <a:gd name="connsiteY0" fmla="*/ 0 h 6858000"/>
              <a:gd name="connsiteX1" fmla="*/ 6969759 w 6969759"/>
              <a:gd name="connsiteY1" fmla="*/ 448472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3460528 w 6969759"/>
              <a:gd name="connsiteY5" fmla="*/ 508268 h 6858000"/>
              <a:gd name="connsiteX6" fmla="*/ 911532 w 6969759"/>
              <a:gd name="connsiteY6" fmla="*/ 119595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0 w 6969759"/>
              <a:gd name="connsiteY0" fmla="*/ 0 h 6858000"/>
              <a:gd name="connsiteX1" fmla="*/ 6969759 w 6969759"/>
              <a:gd name="connsiteY1" fmla="*/ 448472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3460528 w 6969759"/>
              <a:gd name="connsiteY5" fmla="*/ 508268 h 6858000"/>
              <a:gd name="connsiteX6" fmla="*/ 3460527 w 6969759"/>
              <a:gd name="connsiteY6" fmla="*/ 493321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3765268 w 6969759"/>
              <a:gd name="connsiteY0" fmla="*/ 328875 h 6857996"/>
              <a:gd name="connsiteX1" fmla="*/ 6969759 w 6969759"/>
              <a:gd name="connsiteY1" fmla="*/ 448468 h 6857996"/>
              <a:gd name="connsiteX2" fmla="*/ 6969759 w 6969759"/>
              <a:gd name="connsiteY2" fmla="*/ 6857996 h 6857996"/>
              <a:gd name="connsiteX3" fmla="*/ 508945 w 6969759"/>
              <a:gd name="connsiteY3" fmla="*/ 6857996 h 6857996"/>
              <a:gd name="connsiteX4" fmla="*/ 3486919 w 6969759"/>
              <a:gd name="connsiteY4" fmla="*/ 493315 h 6857996"/>
              <a:gd name="connsiteX5" fmla="*/ 3460528 w 6969759"/>
              <a:gd name="connsiteY5" fmla="*/ 508264 h 6857996"/>
              <a:gd name="connsiteX6" fmla="*/ 3460527 w 6969759"/>
              <a:gd name="connsiteY6" fmla="*/ 493317 h 6857996"/>
              <a:gd name="connsiteX7" fmla="*/ 0 w 6969759"/>
              <a:gd name="connsiteY7" fmla="*/ 0 h 6857996"/>
              <a:gd name="connsiteX8" fmla="*/ 3765268 w 6969759"/>
              <a:gd name="connsiteY8" fmla="*/ 328875 h 6857996"/>
              <a:gd name="connsiteX0" fmla="*/ 3256323 w 6460814"/>
              <a:gd name="connsiteY0" fmla="*/ 0 h 6529121"/>
              <a:gd name="connsiteX1" fmla="*/ 6460814 w 6460814"/>
              <a:gd name="connsiteY1" fmla="*/ 119593 h 6529121"/>
              <a:gd name="connsiteX2" fmla="*/ 6460814 w 6460814"/>
              <a:gd name="connsiteY2" fmla="*/ 6529121 h 6529121"/>
              <a:gd name="connsiteX3" fmla="*/ 0 w 6460814"/>
              <a:gd name="connsiteY3" fmla="*/ 6529121 h 6529121"/>
              <a:gd name="connsiteX4" fmla="*/ 2977974 w 6460814"/>
              <a:gd name="connsiteY4" fmla="*/ 164440 h 6529121"/>
              <a:gd name="connsiteX5" fmla="*/ 2951583 w 6460814"/>
              <a:gd name="connsiteY5" fmla="*/ 179389 h 6529121"/>
              <a:gd name="connsiteX6" fmla="*/ 2951582 w 6460814"/>
              <a:gd name="connsiteY6" fmla="*/ 164442 h 6529121"/>
              <a:gd name="connsiteX7" fmla="*/ 1936538 w 6460814"/>
              <a:gd name="connsiteY7" fmla="*/ 44851 h 6529121"/>
              <a:gd name="connsiteX8" fmla="*/ 3256323 w 6460814"/>
              <a:gd name="connsiteY8" fmla="*/ 0 h 6529121"/>
              <a:gd name="connsiteX0" fmla="*/ 3256323 w 6460814"/>
              <a:gd name="connsiteY0" fmla="*/ 0 h 6529121"/>
              <a:gd name="connsiteX1" fmla="*/ 6460814 w 6460814"/>
              <a:gd name="connsiteY1" fmla="*/ 119593 h 6529121"/>
              <a:gd name="connsiteX2" fmla="*/ 6460814 w 6460814"/>
              <a:gd name="connsiteY2" fmla="*/ 6529121 h 6529121"/>
              <a:gd name="connsiteX3" fmla="*/ 0 w 6460814"/>
              <a:gd name="connsiteY3" fmla="*/ 6529121 h 6529121"/>
              <a:gd name="connsiteX4" fmla="*/ 2977974 w 6460814"/>
              <a:gd name="connsiteY4" fmla="*/ 164440 h 6529121"/>
              <a:gd name="connsiteX5" fmla="*/ 2951583 w 6460814"/>
              <a:gd name="connsiteY5" fmla="*/ 179389 h 6529121"/>
              <a:gd name="connsiteX6" fmla="*/ 2951582 w 6460814"/>
              <a:gd name="connsiteY6" fmla="*/ 164442 h 6529121"/>
              <a:gd name="connsiteX7" fmla="*/ 2997542 w 6460814"/>
              <a:gd name="connsiteY7" fmla="*/ 44851 h 6529121"/>
              <a:gd name="connsiteX8" fmla="*/ 3256323 w 6460814"/>
              <a:gd name="connsiteY8" fmla="*/ 0 h 6529121"/>
              <a:gd name="connsiteX0" fmla="*/ 3256323 w 6460814"/>
              <a:gd name="connsiteY0" fmla="*/ 0 h 6529121"/>
              <a:gd name="connsiteX1" fmla="*/ 6460814 w 6460814"/>
              <a:gd name="connsiteY1" fmla="*/ 119593 h 6529121"/>
              <a:gd name="connsiteX2" fmla="*/ 6460814 w 6460814"/>
              <a:gd name="connsiteY2" fmla="*/ 6529121 h 6529121"/>
              <a:gd name="connsiteX3" fmla="*/ 0 w 6460814"/>
              <a:gd name="connsiteY3" fmla="*/ 6529121 h 6529121"/>
              <a:gd name="connsiteX4" fmla="*/ 2977974 w 6460814"/>
              <a:gd name="connsiteY4" fmla="*/ 164440 h 6529121"/>
              <a:gd name="connsiteX5" fmla="*/ 2951583 w 6460814"/>
              <a:gd name="connsiteY5" fmla="*/ 179389 h 6529121"/>
              <a:gd name="connsiteX6" fmla="*/ 2951582 w 6460814"/>
              <a:gd name="connsiteY6" fmla="*/ 164442 h 6529121"/>
              <a:gd name="connsiteX7" fmla="*/ 2997542 w 6460814"/>
              <a:gd name="connsiteY7" fmla="*/ 44851 h 6529121"/>
              <a:gd name="connsiteX8" fmla="*/ 3256323 w 6460814"/>
              <a:gd name="connsiteY8" fmla="*/ 0 h 6529121"/>
              <a:gd name="connsiteX0" fmla="*/ 3023421 w 6460814"/>
              <a:gd name="connsiteY0" fmla="*/ 119588 h 6484270"/>
              <a:gd name="connsiteX1" fmla="*/ 6460814 w 6460814"/>
              <a:gd name="connsiteY1" fmla="*/ 74742 h 6484270"/>
              <a:gd name="connsiteX2" fmla="*/ 6460814 w 6460814"/>
              <a:gd name="connsiteY2" fmla="*/ 6484270 h 6484270"/>
              <a:gd name="connsiteX3" fmla="*/ 0 w 6460814"/>
              <a:gd name="connsiteY3" fmla="*/ 6484270 h 6484270"/>
              <a:gd name="connsiteX4" fmla="*/ 2977974 w 6460814"/>
              <a:gd name="connsiteY4" fmla="*/ 119589 h 6484270"/>
              <a:gd name="connsiteX5" fmla="*/ 2951583 w 6460814"/>
              <a:gd name="connsiteY5" fmla="*/ 134538 h 6484270"/>
              <a:gd name="connsiteX6" fmla="*/ 2951582 w 6460814"/>
              <a:gd name="connsiteY6" fmla="*/ 119591 h 6484270"/>
              <a:gd name="connsiteX7" fmla="*/ 2997542 w 6460814"/>
              <a:gd name="connsiteY7" fmla="*/ 0 h 6484270"/>
              <a:gd name="connsiteX8" fmla="*/ 3023421 w 6460814"/>
              <a:gd name="connsiteY8" fmla="*/ 119588 h 6484270"/>
              <a:gd name="connsiteX0" fmla="*/ 3028543 w 6460814"/>
              <a:gd name="connsiteY0" fmla="*/ 95919 h 6484270"/>
              <a:gd name="connsiteX1" fmla="*/ 6460814 w 6460814"/>
              <a:gd name="connsiteY1" fmla="*/ 74742 h 6484270"/>
              <a:gd name="connsiteX2" fmla="*/ 6460814 w 6460814"/>
              <a:gd name="connsiteY2" fmla="*/ 6484270 h 6484270"/>
              <a:gd name="connsiteX3" fmla="*/ 0 w 6460814"/>
              <a:gd name="connsiteY3" fmla="*/ 6484270 h 6484270"/>
              <a:gd name="connsiteX4" fmla="*/ 2977974 w 6460814"/>
              <a:gd name="connsiteY4" fmla="*/ 119589 h 6484270"/>
              <a:gd name="connsiteX5" fmla="*/ 2951583 w 6460814"/>
              <a:gd name="connsiteY5" fmla="*/ 134538 h 6484270"/>
              <a:gd name="connsiteX6" fmla="*/ 2951582 w 6460814"/>
              <a:gd name="connsiteY6" fmla="*/ 119591 h 6484270"/>
              <a:gd name="connsiteX7" fmla="*/ 2997542 w 6460814"/>
              <a:gd name="connsiteY7" fmla="*/ 0 h 6484270"/>
              <a:gd name="connsiteX8" fmla="*/ 3028543 w 6460814"/>
              <a:gd name="connsiteY8" fmla="*/ 95919 h 6484270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77974 w 6460814"/>
              <a:gd name="connsiteY4" fmla="*/ 44847 h 6409528"/>
              <a:gd name="connsiteX5" fmla="*/ 2951583 w 6460814"/>
              <a:gd name="connsiteY5" fmla="*/ 59796 h 6409528"/>
              <a:gd name="connsiteX6" fmla="*/ 2951582 w 6460814"/>
              <a:gd name="connsiteY6" fmla="*/ 44849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77974 w 6460814"/>
              <a:gd name="connsiteY4" fmla="*/ 44847 h 6409528"/>
              <a:gd name="connsiteX5" fmla="*/ 2951583 w 6460814"/>
              <a:gd name="connsiteY5" fmla="*/ 59796 h 6409528"/>
              <a:gd name="connsiteX6" fmla="*/ 2951582 w 6460814"/>
              <a:gd name="connsiteY6" fmla="*/ 44849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77974 w 6460814"/>
              <a:gd name="connsiteY4" fmla="*/ 44847 h 6409528"/>
              <a:gd name="connsiteX5" fmla="*/ 2951583 w 6460814"/>
              <a:gd name="connsiteY5" fmla="*/ 59796 h 6409528"/>
              <a:gd name="connsiteX6" fmla="*/ 2989995 w 6460814"/>
              <a:gd name="connsiteY6" fmla="*/ 24138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77974 w 6460814"/>
              <a:gd name="connsiteY4" fmla="*/ 44847 h 6409528"/>
              <a:gd name="connsiteX5" fmla="*/ 2989996 w 6460814"/>
              <a:gd name="connsiteY5" fmla="*/ 18374 h 6409528"/>
              <a:gd name="connsiteX6" fmla="*/ 2989995 w 6460814"/>
              <a:gd name="connsiteY6" fmla="*/ 24138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93339 w 6460814"/>
              <a:gd name="connsiteY4" fmla="*/ 18219 h 6409528"/>
              <a:gd name="connsiteX5" fmla="*/ 2989996 w 6460814"/>
              <a:gd name="connsiteY5" fmla="*/ 18374 h 6409528"/>
              <a:gd name="connsiteX6" fmla="*/ 2989995 w 6460814"/>
              <a:gd name="connsiteY6" fmla="*/ 24138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18218 h 6406569"/>
              <a:gd name="connsiteX1" fmla="*/ 6460814 w 6460814"/>
              <a:gd name="connsiteY1" fmla="*/ 0 h 6406569"/>
              <a:gd name="connsiteX2" fmla="*/ 6460814 w 6460814"/>
              <a:gd name="connsiteY2" fmla="*/ 6406569 h 6406569"/>
              <a:gd name="connsiteX3" fmla="*/ 0 w 6460814"/>
              <a:gd name="connsiteY3" fmla="*/ 6406569 h 6406569"/>
              <a:gd name="connsiteX4" fmla="*/ 2993339 w 6460814"/>
              <a:gd name="connsiteY4" fmla="*/ 15260 h 6406569"/>
              <a:gd name="connsiteX5" fmla="*/ 2989996 w 6460814"/>
              <a:gd name="connsiteY5" fmla="*/ 15415 h 6406569"/>
              <a:gd name="connsiteX6" fmla="*/ 2989995 w 6460814"/>
              <a:gd name="connsiteY6" fmla="*/ 21179 h 6406569"/>
              <a:gd name="connsiteX7" fmla="*/ 3023151 w 6460814"/>
              <a:gd name="connsiteY7" fmla="*/ 14018 h 6406569"/>
              <a:gd name="connsiteX8" fmla="*/ 3028543 w 6460814"/>
              <a:gd name="connsiteY8" fmla="*/ 18218 h 6406569"/>
              <a:gd name="connsiteX0" fmla="*/ 3028543 w 6460814"/>
              <a:gd name="connsiteY0" fmla="*/ 18218 h 6406569"/>
              <a:gd name="connsiteX1" fmla="*/ 6460814 w 6460814"/>
              <a:gd name="connsiteY1" fmla="*/ 0 h 6406569"/>
              <a:gd name="connsiteX2" fmla="*/ 6460814 w 6460814"/>
              <a:gd name="connsiteY2" fmla="*/ 6406569 h 6406569"/>
              <a:gd name="connsiteX3" fmla="*/ 0 w 6460814"/>
              <a:gd name="connsiteY3" fmla="*/ 6406569 h 6406569"/>
              <a:gd name="connsiteX4" fmla="*/ 2993339 w 6460814"/>
              <a:gd name="connsiteY4" fmla="*/ 15260 h 6406569"/>
              <a:gd name="connsiteX5" fmla="*/ 2989996 w 6460814"/>
              <a:gd name="connsiteY5" fmla="*/ 15415 h 6406569"/>
              <a:gd name="connsiteX6" fmla="*/ 3023151 w 6460814"/>
              <a:gd name="connsiteY6" fmla="*/ 14018 h 6406569"/>
              <a:gd name="connsiteX7" fmla="*/ 3028543 w 6460814"/>
              <a:gd name="connsiteY7" fmla="*/ 18218 h 6406569"/>
              <a:gd name="connsiteX0" fmla="*/ 3028543 w 6460814"/>
              <a:gd name="connsiteY0" fmla="*/ 18218 h 6406569"/>
              <a:gd name="connsiteX1" fmla="*/ 6460814 w 6460814"/>
              <a:gd name="connsiteY1" fmla="*/ 0 h 6406569"/>
              <a:gd name="connsiteX2" fmla="*/ 6460814 w 6460814"/>
              <a:gd name="connsiteY2" fmla="*/ 6406569 h 6406569"/>
              <a:gd name="connsiteX3" fmla="*/ 0 w 6460814"/>
              <a:gd name="connsiteY3" fmla="*/ 6406569 h 6406569"/>
              <a:gd name="connsiteX4" fmla="*/ 2993339 w 6460814"/>
              <a:gd name="connsiteY4" fmla="*/ 15260 h 6406569"/>
              <a:gd name="connsiteX5" fmla="*/ 3023151 w 6460814"/>
              <a:gd name="connsiteY5" fmla="*/ 14018 h 6406569"/>
              <a:gd name="connsiteX6" fmla="*/ 3028543 w 6460814"/>
              <a:gd name="connsiteY6" fmla="*/ 18218 h 6406569"/>
              <a:gd name="connsiteX0" fmla="*/ 3028543 w 6460814"/>
              <a:gd name="connsiteY0" fmla="*/ 18218 h 6406569"/>
              <a:gd name="connsiteX1" fmla="*/ 6460814 w 6460814"/>
              <a:gd name="connsiteY1" fmla="*/ 0 h 6406569"/>
              <a:gd name="connsiteX2" fmla="*/ 6460814 w 6460814"/>
              <a:gd name="connsiteY2" fmla="*/ 6406569 h 6406569"/>
              <a:gd name="connsiteX3" fmla="*/ 0 w 6460814"/>
              <a:gd name="connsiteY3" fmla="*/ 6406569 h 6406569"/>
              <a:gd name="connsiteX4" fmla="*/ 3023151 w 6460814"/>
              <a:gd name="connsiteY4" fmla="*/ 14018 h 6406569"/>
              <a:gd name="connsiteX5" fmla="*/ 3028543 w 6460814"/>
              <a:gd name="connsiteY5" fmla="*/ 18218 h 6406569"/>
              <a:gd name="connsiteX0" fmla="*/ 3028543 w 6460814"/>
              <a:gd name="connsiteY0" fmla="*/ 22879 h 6411230"/>
              <a:gd name="connsiteX1" fmla="*/ 6460814 w 6460814"/>
              <a:gd name="connsiteY1" fmla="*/ 4661 h 6411230"/>
              <a:gd name="connsiteX2" fmla="*/ 6460814 w 6460814"/>
              <a:gd name="connsiteY2" fmla="*/ 6411230 h 6411230"/>
              <a:gd name="connsiteX3" fmla="*/ 0 w 6460814"/>
              <a:gd name="connsiteY3" fmla="*/ 6411230 h 6411230"/>
              <a:gd name="connsiteX4" fmla="*/ 3023151 w 6460814"/>
              <a:gd name="connsiteY4" fmla="*/ 18679 h 6411230"/>
              <a:gd name="connsiteX5" fmla="*/ 3028543 w 6460814"/>
              <a:gd name="connsiteY5" fmla="*/ 22879 h 6411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60814" h="6411230">
                <a:moveTo>
                  <a:pt x="3028543" y="22879"/>
                </a:moveTo>
                <a:lnTo>
                  <a:pt x="6460814" y="4661"/>
                </a:lnTo>
                <a:lnTo>
                  <a:pt x="6460814" y="6411230"/>
                </a:lnTo>
                <a:lnTo>
                  <a:pt x="0" y="6411230"/>
                </a:lnTo>
                <a:lnTo>
                  <a:pt x="3023151" y="18679"/>
                </a:lnTo>
                <a:cubicBezTo>
                  <a:pt x="2995386" y="25997"/>
                  <a:pt x="2942283" y="-29798"/>
                  <a:pt x="3028543" y="22879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2" name="Title 8">
            <a:extLst>
              <a:ext uri="{FF2B5EF4-FFF2-40B4-BE49-F238E27FC236}">
                <a16:creationId xmlns:a16="http://schemas.microsoft.com/office/drawing/2014/main" id="{E9F07464-242C-ADE7-8AD2-77CA104BE7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377" y="2187806"/>
            <a:ext cx="6050183" cy="1225954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A6ECE6CA-C10B-EAD6-DC3F-E439ECD420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2375" y="3494342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8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2CB704B-08E0-060B-CE14-9ACE843E161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26010" y="4661513"/>
            <a:ext cx="1977194" cy="1977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375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//Bild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A2FE2F32-6EE2-A66A-F049-A75EB83554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LineDraw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018"/>
          <a:stretch/>
        </p:blipFill>
        <p:spPr>
          <a:xfrm flipH="1">
            <a:off x="-9524" y="0"/>
            <a:ext cx="12201523" cy="6858000"/>
          </a:xfrm>
          <a:prstGeom prst="rect">
            <a:avLst/>
          </a:prstGeom>
        </p:spPr>
      </p:pic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1044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82F7FFF-4C5B-4019-9384-D49F46D526EB}"/>
              </a:ext>
            </a:extLst>
          </p:cNvPr>
          <p:cNvGrpSpPr/>
          <p:nvPr userDrawn="1"/>
        </p:nvGrpSpPr>
        <p:grpSpPr>
          <a:xfrm>
            <a:off x="300038" y="2622445"/>
            <a:ext cx="11530012" cy="2396064"/>
            <a:chOff x="705451" y="5067472"/>
            <a:chExt cx="11671993" cy="237926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586F8AD-DF01-425F-82E1-C7B3B54D2332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9BEDEC5-A311-4772-8ED2-5EF31FB83501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FE7D64E6-1F9F-4943-B9B8-CBECB838132F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7" name="Freeform 38">
              <a:extLst>
                <a:ext uri="{FF2B5EF4-FFF2-40B4-BE49-F238E27FC236}">
                  <a16:creationId xmlns:a16="http://schemas.microsoft.com/office/drawing/2014/main" id="{DB665266-C462-42A5-A4D5-0A4E4B3C8209}"/>
                </a:ext>
              </a:extLst>
            </p:cNvPr>
            <p:cNvSpPr/>
            <p:nvPr/>
          </p:nvSpPr>
          <p:spPr>
            <a:xfrm rot="10800000">
              <a:off x="7823797" y="5085324"/>
              <a:ext cx="3171078" cy="2359413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53017"/>
                <a:gd name="connsiteX1" fmla="*/ 2327681 w 2327681"/>
                <a:gd name="connsiteY1" fmla="*/ 0 h 1453017"/>
                <a:gd name="connsiteX2" fmla="*/ 1123354 w 2327681"/>
                <a:gd name="connsiteY2" fmla="*/ 1453017 h 1453017"/>
                <a:gd name="connsiteX3" fmla="*/ 0 w 2327681"/>
                <a:gd name="connsiteY3" fmla="*/ 1443354 h 1453017"/>
                <a:gd name="connsiteX4" fmla="*/ 0 w 2327681"/>
                <a:gd name="connsiteY4" fmla="*/ 0 h 1453017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357212 w 2327681"/>
                <a:gd name="connsiteY2" fmla="*/ 1404700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50756 w 2327681"/>
                <a:gd name="connsiteY2" fmla="*/ 141436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46128 w 2327681"/>
                <a:gd name="connsiteY2" fmla="*/ 1441140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18357 w 2327681"/>
                <a:gd name="connsiteY2" fmla="*/ 1437315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18357 w 2327681"/>
                <a:gd name="connsiteY2" fmla="*/ 1439228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20093 w 2327681"/>
                <a:gd name="connsiteY2" fmla="*/ 1442097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1420093" y="1442097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19B77B6-560F-4AB3-8F49-584C755101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3081813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style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2934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A4A3A4"/>
          </p15:clr>
        </p15:guide>
        <p15:guide id="2" pos="483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64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  <p15:guide id="8" orient="horz" pos="4110">
          <p15:clr>
            <a:srgbClr val="F26B43"/>
          </p15:clr>
        </p15:guide>
        <p15:guide id="9" pos="226">
          <p15:clr>
            <a:srgbClr val="F26B43"/>
          </p15:clr>
        </p15:guide>
        <p15:guide id="10" pos="7452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// LI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652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Rechteck 9">
            <a:extLst>
              <a:ext uri="{FF2B5EF4-FFF2-40B4-BE49-F238E27FC236}">
                <a16:creationId xmlns:a16="http://schemas.microsoft.com/office/drawing/2014/main" id="{FAF66208-BE51-4383-B61E-7C1B1F88E877}"/>
              </a:ext>
            </a:extLst>
          </p:cNvPr>
          <p:cNvSpPr/>
          <p:nvPr userDrawn="1"/>
        </p:nvSpPr>
        <p:spPr>
          <a:xfrm>
            <a:off x="353291" y="336550"/>
            <a:ext cx="11485419" cy="618807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lang="de-DE" kern="0">
              <a:solidFill>
                <a:srgbClr val="FFFFFF"/>
              </a:solidFill>
              <a:latin typeface="Arial Regular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A57404-7CC7-4DE1-B6B1-1CE4EC33F2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92413" y="2815748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4000" kern="100" spc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style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411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A4A3A4"/>
          </p15:clr>
        </p15:guide>
        <p15:guide id="2" pos="483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64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  <p15:guide id="8" orient="horz" pos="4110">
          <p15:clr>
            <a:srgbClr val="F26B43"/>
          </p15:clr>
        </p15:guide>
        <p15:guide id="9" pos="226">
          <p15:clr>
            <a:srgbClr val="F26B43"/>
          </p15:clr>
        </p15:guide>
        <p15:guide id="10" pos="7452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0">
            <a:extLst>
              <a:ext uri="{FF2B5EF4-FFF2-40B4-BE49-F238E27FC236}">
                <a16:creationId xmlns:a16="http://schemas.microsoft.com/office/drawing/2014/main" id="{C3405EAD-0FDF-B91F-62FB-C7441B9016F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64300"/>
            <a:ext cx="12192000" cy="390525"/>
          </a:xfrm>
          <a:prstGeom prst="rect">
            <a:avLst/>
          </a:prstGeom>
          <a:solidFill>
            <a:schemeClr val="accent2">
              <a:alpha val="76863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1027113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 dirty="0">
                <a:ln>
                  <a:noFill/>
                </a:ln>
                <a:effectLst/>
                <a:latin typeface="Calibri" panose="020F0502020204030204" pitchFamily="34" charset="0"/>
              </a:rPr>
              <a:t>© VISTA 2024			 		       www.vista-geo.de	 		                   		No. </a:t>
            </a:r>
            <a:fld id="{E6C974B5-519B-4062-ADCC-6D63391737C9}" type="slidenum">
              <a:rPr kumimoji="0" lang="en-GB" sz="1200" b="0" i="0" u="none" strike="noStrike" cap="none" normalizeH="0" baseline="0">
                <a:ln>
                  <a:noFill/>
                </a:ln>
                <a:effectLst/>
                <a:latin typeface="Calibri" panose="020F0502020204030204" pitchFamily="34" charset="0"/>
              </a:rPr>
              <a:pPr marL="0" marR="0" lvl="0" indent="0" defTabSz="1027113" latinLnBrk="0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t>‹Nr.›</a:t>
            </a:fld>
            <a:endParaRPr kumimoji="0" lang="en-GB" sz="1200" b="0" i="0" u="none" strike="noStrike" cap="none" normalizeH="0" baseline="0" dirty="0">
              <a:ln>
                <a:noFill/>
              </a:ln>
              <a:effectLst/>
              <a:latin typeface="Calibri" panose="020F050202020403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DDDF104-EA49-2FD6-B97C-E0C4E8BBF1BA}"/>
              </a:ext>
            </a:extLst>
          </p:cNvPr>
          <p:cNvSpPr/>
          <p:nvPr userDrawn="1"/>
        </p:nvSpPr>
        <p:spPr bwMode="auto">
          <a:xfrm>
            <a:off x="11172825" y="0"/>
            <a:ext cx="1019175" cy="944563"/>
          </a:xfrm>
          <a:prstGeom prst="rect">
            <a:avLst/>
          </a:prstGeom>
          <a:solidFill>
            <a:schemeClr val="accent2">
              <a:alpha val="76863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0E0C0A1-9375-4F36-B71D-95DD66E97E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4113514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5" imgW="473" imgH="476" progId="TCLayout.ActiveDocument.1">
                  <p:embed/>
                </p:oleObj>
              </mc:Choice>
              <mc:Fallback>
                <p:oleObj name="think-cell Folie" r:id="rId55" imgW="473" imgH="47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0E0C0A1-9375-4F36-B71D-95DD66E97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D4D0082-41DB-43CC-9120-28B10235E010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DEAAE901-054D-41AA-B6A8-B0DE66A43531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681A92B-F880-459D-A1CB-D2A6791E0F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9185" y="1052514"/>
            <a:ext cx="11491340" cy="529272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3" name="Grafik 12">
            <a:hlinkClick r:id="" action="ppaction://noaction"/>
            <a:extLst>
              <a:ext uri="{FF2B5EF4-FFF2-40B4-BE49-F238E27FC236}">
                <a16:creationId xmlns:a16="http://schemas.microsoft.com/office/drawing/2014/main" id="{AB928CA1-BAF6-6289-F6FB-C8A89D66ED89}"/>
              </a:ext>
            </a:extLst>
          </p:cNvPr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4243" y="107974"/>
            <a:ext cx="760427" cy="760427"/>
          </a:xfrm>
          <a:prstGeom prst="rect">
            <a:avLst/>
          </a:prstGeom>
          <a:noFill/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E97EE650-59AC-4BCE-0F37-824BFB375763}"/>
              </a:ext>
            </a:extLst>
          </p:cNvPr>
          <p:cNvSpPr/>
          <p:nvPr userDrawn="1"/>
        </p:nvSpPr>
        <p:spPr bwMode="auto">
          <a:xfrm>
            <a:off x="0" y="0"/>
            <a:ext cx="11028363" cy="944563"/>
          </a:xfrm>
          <a:prstGeom prst="rect">
            <a:avLst/>
          </a:prstGeom>
          <a:solidFill>
            <a:schemeClr val="accent2">
              <a:alpha val="76863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F5271990-9DBD-4A7E-9EAB-D14ED5AB6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  <a:prstGeom prst="rect">
            <a:avLst/>
          </a:prstGeom>
          <a:noFill/>
        </p:spPr>
        <p:txBody>
          <a:bodyPr vert="horz" wrap="square" lIns="144000" tIns="0" rIns="144000" bIns="0" rtlCol="0" anchor="ctr">
            <a:normAutofit/>
          </a:bodyPr>
          <a:lstStyle/>
          <a:p>
            <a:r>
              <a:rPr lang="de-DE" noProof="0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1276888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7" r:id="rId46"/>
    <p:sldLayoutId id="2147483708" r:id="rId47"/>
    <p:sldLayoutId id="2147483709" r:id="rId48"/>
    <p:sldLayoutId id="2147483710" r:id="rId49"/>
    <p:sldLayoutId id="2147483711" r:id="rId5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00" cap="none" baseline="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358775" indent="-3587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Wingdings" panose="05000000000000000000" pitchFamily="2" charset="2"/>
        <a:buChar char="§"/>
        <a:defRPr sz="1800" kern="600" spc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715963" indent="-3571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sz="1800" kern="600" spc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073150" indent="-36036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SzPct val="150000"/>
        <a:buFont typeface="Symbol" panose="05050102010706020507" pitchFamily="18" charset="2"/>
        <a:buChar char="-"/>
        <a:defRPr sz="1800" kern="600" spc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0" indent="0" algn="l" defTabSz="490538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None/>
        <a:tabLst/>
        <a:defRPr sz="1800" kern="600" spc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600" cap="none" spc="0" baseline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kern="600" spc="40" baseline="0">
          <a:solidFill>
            <a:schemeClr val="accent6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97">
          <p15:clr>
            <a:srgbClr val="F26B43"/>
          </p15:clr>
        </p15:guide>
        <p15:guide id="2" pos="189">
          <p15:clr>
            <a:srgbClr val="F26B43"/>
          </p15:clr>
        </p15:guide>
        <p15:guide id="3" pos="7446">
          <p15:clr>
            <a:srgbClr val="F26B43"/>
          </p15:clr>
        </p15:guide>
        <p15:guide id="5" orient="horz" pos="73">
          <p15:clr>
            <a:srgbClr val="F26B43"/>
          </p15:clr>
        </p15:guide>
        <p15:guide id="6" orient="horz" pos="663">
          <p15:clr>
            <a:srgbClr val="F26B43"/>
          </p15:clr>
        </p15:guide>
        <p15:guide id="7" orient="horz" pos="527">
          <p15:clr>
            <a:srgbClr val="F26B43"/>
          </p15:clr>
        </p15:guide>
        <p15:guide id="8" pos="7038">
          <p15:clr>
            <a:srgbClr val="F26B43"/>
          </p15:clr>
        </p15:guide>
        <p15:guide id="9" pos="6947">
          <p15:clr>
            <a:srgbClr val="F26B43"/>
          </p15:clr>
        </p15:guide>
        <p15:guide id="10" orient="horz" pos="4065">
          <p15:clr>
            <a:srgbClr val="F26B43"/>
          </p15:clr>
        </p15:guide>
        <p15:guide id="11" pos="3727">
          <p15:clr>
            <a:srgbClr val="F26B43"/>
          </p15:clr>
        </p15:guide>
        <p15:guide id="12" pos="3953">
          <p15:clr>
            <a:srgbClr val="F26B43"/>
          </p15:clr>
        </p15:guide>
        <p15:guide id="13" orient="horz" pos="595">
          <p15:clr>
            <a:srgbClr val="F26B43"/>
          </p15:clr>
        </p15:guide>
        <p15:guide id="14" pos="3840">
          <p15:clr>
            <a:srgbClr val="F26B43"/>
          </p15:clr>
        </p15:guide>
        <p15:guide id="15" pos="760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pngimg.com/download/25951" TargetMode="External"/><Relationship Id="rId13" Type="http://schemas.openxmlformats.org/officeDocument/2006/relationships/image" Target="../media/image18.jpg"/><Relationship Id="rId18" Type="http://schemas.openxmlformats.org/officeDocument/2006/relationships/diagramQuickStyle" Target="../diagrams/quickStyle1.xml"/><Relationship Id="rId3" Type="http://schemas.openxmlformats.org/officeDocument/2006/relationships/image" Target="../media/image11.png"/><Relationship Id="rId21" Type="http://schemas.openxmlformats.org/officeDocument/2006/relationships/image" Target="../media/image20.png"/><Relationship Id="rId7" Type="http://schemas.microsoft.com/office/2007/relationships/hdphoto" Target="../media/hdphoto2.wdp"/><Relationship Id="rId12" Type="http://schemas.openxmlformats.org/officeDocument/2006/relationships/image" Target="../media/image17.png"/><Relationship Id="rId17" Type="http://schemas.openxmlformats.org/officeDocument/2006/relationships/diagramLayout" Target="../diagrams/layout1.xml"/><Relationship Id="rId2" Type="http://schemas.openxmlformats.org/officeDocument/2006/relationships/notesSlide" Target="../notesSlides/notesSlide3.xml"/><Relationship Id="rId16" Type="http://schemas.openxmlformats.org/officeDocument/2006/relationships/diagramData" Target="../diagrams/data1.xml"/><Relationship Id="rId20" Type="http://schemas.microsoft.com/office/2007/relationships/diagramDrawing" Target="../diagrams/drawing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4.png"/><Relationship Id="rId11" Type="http://schemas.openxmlformats.org/officeDocument/2006/relationships/image" Target="../media/image16.png"/><Relationship Id="rId24" Type="http://schemas.openxmlformats.org/officeDocument/2006/relationships/image" Target="../media/image23.png"/><Relationship Id="rId5" Type="http://schemas.openxmlformats.org/officeDocument/2006/relationships/image" Target="../media/image13.png"/><Relationship Id="rId15" Type="http://schemas.openxmlformats.org/officeDocument/2006/relationships/image" Target="../media/image2.png"/><Relationship Id="rId23" Type="http://schemas.openxmlformats.org/officeDocument/2006/relationships/image" Target="../media/image22.JPG"/><Relationship Id="rId10" Type="http://schemas.microsoft.com/office/2007/relationships/hdphoto" Target="../media/hdphoto3.wdp"/><Relationship Id="rId19" Type="http://schemas.openxmlformats.org/officeDocument/2006/relationships/diagramColors" Target="../diagrams/colors1.xml"/><Relationship Id="rId4" Type="http://schemas.openxmlformats.org/officeDocument/2006/relationships/image" Target="../media/image12.png"/><Relationship Id="rId9" Type="http://schemas.openxmlformats.org/officeDocument/2006/relationships/image" Target="../media/image15.png"/><Relationship Id="rId14" Type="http://schemas.openxmlformats.org/officeDocument/2006/relationships/image" Target="../media/image19.jpeg"/><Relationship Id="rId22" Type="http://schemas.openxmlformats.org/officeDocument/2006/relationships/image" Target="../media/image2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4.png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13" Type="http://schemas.openxmlformats.org/officeDocument/2006/relationships/image" Target="../media/image35.jpeg"/><Relationship Id="rId18" Type="http://schemas.openxmlformats.org/officeDocument/2006/relationships/image" Target="../media/image40.png"/><Relationship Id="rId3" Type="http://schemas.openxmlformats.org/officeDocument/2006/relationships/image" Target="../media/image25.png"/><Relationship Id="rId21" Type="http://schemas.openxmlformats.org/officeDocument/2006/relationships/image" Target="../media/image42.png"/><Relationship Id="rId7" Type="http://schemas.openxmlformats.org/officeDocument/2006/relationships/image" Target="../media/image29.jpe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8.png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8.jpeg"/><Relationship Id="rId11" Type="http://schemas.openxmlformats.org/officeDocument/2006/relationships/image" Target="../media/image33.png"/><Relationship Id="rId5" Type="http://schemas.openxmlformats.org/officeDocument/2006/relationships/image" Target="../media/image27.jpeg"/><Relationship Id="rId15" Type="http://schemas.openxmlformats.org/officeDocument/2006/relationships/image" Target="../media/image37.png"/><Relationship Id="rId23" Type="http://schemas.openxmlformats.org/officeDocument/2006/relationships/image" Target="../media/image44.png"/><Relationship Id="rId10" Type="http://schemas.openxmlformats.org/officeDocument/2006/relationships/image" Target="../media/image32.png"/><Relationship Id="rId19" Type="http://schemas.openxmlformats.org/officeDocument/2006/relationships/image" Target="../media/image41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png"/><Relationship Id="rId22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1B216E-DFA1-21CC-506D-DD1742824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/>
              <a:t>EO Commercialization Forum Agriculture Sess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4EA11A2-407B-4D5E-BE65-3AC5BC836C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r. Heike Bach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5BE8E52-497A-2D90-F87F-876A5D77A7F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CEO and Founder</a:t>
            </a:r>
            <a:endParaRPr lang="en-GB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92837A63-6151-8A5B-2B6F-FF98118E6F20}"/>
              </a:ext>
            </a:extLst>
          </p:cNvPr>
          <p:cNvSpPr txBox="1">
            <a:spLocks/>
          </p:cNvSpPr>
          <p:nvPr/>
        </p:nvSpPr>
        <p:spPr>
          <a:xfrm>
            <a:off x="4783621" y="2311553"/>
            <a:ext cx="5918246" cy="181842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3200" b="1" kern="600" spc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587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kern="600" spc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1800" kern="600" spc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49053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800" kern="600" spc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600" cap="none" spc="0" baseline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4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0" cap="none" spc="0" normalizeH="0" baseline="0" noProof="0" dirty="0">
                <a:ln>
                  <a:noFill/>
                </a:ln>
                <a:solidFill>
                  <a:srgbClr val="165A6A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ista Gmb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165A6A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ter – Energy – </a:t>
            </a:r>
            <a:r>
              <a:rPr lang="en-US" sz="3600" kern="0" dirty="0">
                <a:solidFill>
                  <a:srgbClr val="165A6A">
                    <a:lumMod val="75000"/>
                  </a:srgbClr>
                </a:solidFill>
                <a:effectLst/>
              </a:rPr>
              <a:t>F</a:t>
            </a:r>
            <a:r>
              <a:rPr kumimoji="0" lang="en-US" sz="3600" b="1" i="0" u="none" strike="noStrike" kern="0" cap="none" spc="0" normalizeH="0" baseline="0" noProof="0" dirty="0" err="1">
                <a:ln>
                  <a:noFill/>
                </a:ln>
                <a:solidFill>
                  <a:srgbClr val="165A6A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od</a:t>
            </a:r>
            <a:r>
              <a:rPr lang="en-US" sz="3600" kern="0" dirty="0">
                <a:solidFill>
                  <a:srgbClr val="165A6A">
                    <a:lumMod val="75000"/>
                  </a:srgbClr>
                </a:solidFill>
                <a:effectLst/>
              </a:rPr>
              <a:t> :</a:t>
            </a: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165A6A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b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165A6A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165A6A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urishing the Future</a:t>
            </a:r>
          </a:p>
        </p:txBody>
      </p:sp>
    </p:spTree>
    <p:extLst>
      <p:ext uri="{BB962C8B-B14F-4D97-AF65-F5344CB8AC3E}">
        <p14:creationId xmlns:p14="http://schemas.microsoft.com/office/powerpoint/2010/main" val="25614274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121BA7-2E20-9987-1AB2-99DFA618A1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B894CD-8A13-572B-C089-11AF13D53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/>
              <a:t>EO Commercialization Forum Agriculture Sess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FCB601-49D1-F5C8-015B-6692189F3D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r. Heike Bach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DA50C6-A626-CEF2-BBE9-019AEDEDF47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CEO and Founder</a:t>
            </a:r>
            <a:endParaRPr lang="en-GB" dirty="0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3E667833-9B33-638E-8470-099985C65DD3}"/>
              </a:ext>
            </a:extLst>
          </p:cNvPr>
          <p:cNvSpPr txBox="1">
            <a:spLocks/>
          </p:cNvSpPr>
          <p:nvPr/>
        </p:nvSpPr>
        <p:spPr>
          <a:xfrm>
            <a:off x="4783621" y="2311553"/>
            <a:ext cx="5918246" cy="181842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3200" b="1" kern="600" spc="0">
                <a:solidFill>
                  <a:schemeClr val="tx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587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kern="600" spc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50000"/>
              <a:buFont typeface="Arial" panose="020B0604020202020204" pitchFamily="34" charset="0"/>
              <a:buNone/>
              <a:defRPr sz="1800" kern="600" spc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0" indent="0" algn="l" defTabSz="49053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800" kern="600" spc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600" cap="none" spc="0" baseline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600" spc="4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0" cap="none" spc="0" normalizeH="0" baseline="0" noProof="0" dirty="0">
                <a:ln>
                  <a:noFill/>
                </a:ln>
                <a:solidFill>
                  <a:srgbClr val="165A6A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ista Gmb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165A6A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ter – Energy – </a:t>
            </a:r>
            <a:r>
              <a:rPr lang="en-US" sz="3600" kern="0" dirty="0">
                <a:solidFill>
                  <a:srgbClr val="165A6A">
                    <a:lumMod val="75000"/>
                  </a:srgbClr>
                </a:solidFill>
                <a:effectLst/>
              </a:rPr>
              <a:t>F</a:t>
            </a:r>
            <a:r>
              <a:rPr kumimoji="0" lang="en-US" sz="3600" b="1" i="0" u="none" strike="noStrike" kern="0" cap="none" spc="0" normalizeH="0" baseline="0" noProof="0" dirty="0" err="1">
                <a:ln>
                  <a:noFill/>
                </a:ln>
                <a:solidFill>
                  <a:srgbClr val="165A6A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od</a:t>
            </a: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165A6A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: </a:t>
            </a:r>
            <a:b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165A6A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165A6A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urishing the Futur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644CE75-0296-2957-1071-687DA70C65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4011" y="91087"/>
            <a:ext cx="7748990" cy="66758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87218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2782C5-197D-8E48-2B2B-FBD26E07F5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0E2260B-B5C7-98E6-467C-C59AB09307A0}"/>
              </a:ext>
            </a:extLst>
          </p:cNvPr>
          <p:cNvSpPr/>
          <p:nvPr/>
        </p:nvSpPr>
        <p:spPr>
          <a:xfrm>
            <a:off x="-88777" y="0"/>
            <a:ext cx="12280777" cy="6858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6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8701269E-7B25-5525-58FA-12E28F144FAC}"/>
              </a:ext>
            </a:extLst>
          </p:cNvPr>
          <p:cNvGrpSpPr/>
          <p:nvPr/>
        </p:nvGrpSpPr>
        <p:grpSpPr>
          <a:xfrm>
            <a:off x="3477454" y="1496314"/>
            <a:ext cx="6485573" cy="4434731"/>
            <a:chOff x="1866900" y="762000"/>
            <a:chExt cx="8496300" cy="5719069"/>
          </a:xfrm>
        </p:grpSpPr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F8B7476C-AD39-D4B6-E612-96377CCE60D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5781" t="6308" r="15156"/>
            <a:stretch>
              <a:fillRect/>
            </a:stretch>
          </p:blipFill>
          <p:spPr>
            <a:xfrm>
              <a:off x="1924050" y="762000"/>
              <a:ext cx="8420100" cy="5719069"/>
            </a:xfrm>
            <a:custGeom>
              <a:avLst/>
              <a:gdLst>
                <a:gd name="connsiteX0" fmla="*/ 2857501 w 8420100"/>
                <a:gd name="connsiteY0" fmla="*/ 0 h 5719069"/>
                <a:gd name="connsiteX1" fmla="*/ 3969768 w 8420100"/>
                <a:gd name="connsiteY1" fmla="*/ 224557 h 5719069"/>
                <a:gd name="connsiteX2" fmla="*/ 4207249 w 8420100"/>
                <a:gd name="connsiteY2" fmla="*/ 338957 h 5719069"/>
                <a:gd name="connsiteX3" fmla="*/ 4370937 w 8420100"/>
                <a:gd name="connsiteY3" fmla="*/ 261908 h 5719069"/>
                <a:gd name="connsiteX4" fmla="*/ 5505450 w 8420100"/>
                <a:gd name="connsiteY4" fmla="*/ 38100 h 5719069"/>
                <a:gd name="connsiteX5" fmla="*/ 8420100 w 8420100"/>
                <a:gd name="connsiteY5" fmla="*/ 2886075 h 5719069"/>
                <a:gd name="connsiteX6" fmla="*/ 6092854 w 8420100"/>
                <a:gd name="connsiteY6" fmla="*/ 5676190 h 5719069"/>
                <a:gd name="connsiteX7" fmla="*/ 5805316 w 8420100"/>
                <a:gd name="connsiteY7" fmla="*/ 5719069 h 5719069"/>
                <a:gd name="connsiteX8" fmla="*/ 5205585 w 8420100"/>
                <a:gd name="connsiteY8" fmla="*/ 5719069 h 5719069"/>
                <a:gd name="connsiteX9" fmla="*/ 4918047 w 8420100"/>
                <a:gd name="connsiteY9" fmla="*/ 5676190 h 5719069"/>
                <a:gd name="connsiteX10" fmla="*/ 4370937 w 8420100"/>
                <a:gd name="connsiteY10" fmla="*/ 5510242 h 5719069"/>
                <a:gd name="connsiteX11" fmla="*/ 4147245 w 8420100"/>
                <a:gd name="connsiteY11" fmla="*/ 5404949 h 5719069"/>
                <a:gd name="connsiteX12" fmla="*/ 3969768 w 8420100"/>
                <a:gd name="connsiteY12" fmla="*/ 5490444 h 5719069"/>
                <a:gd name="connsiteX13" fmla="*/ 2857501 w 8420100"/>
                <a:gd name="connsiteY13" fmla="*/ 5715000 h 5719069"/>
                <a:gd name="connsiteX14" fmla="*/ 0 w 8420100"/>
                <a:gd name="connsiteY14" fmla="*/ 2857500 h 5719069"/>
                <a:gd name="connsiteX15" fmla="*/ 2857501 w 8420100"/>
                <a:gd name="connsiteY15" fmla="*/ 0 h 5719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420100" h="5719069">
                  <a:moveTo>
                    <a:pt x="2857501" y="0"/>
                  </a:moveTo>
                  <a:cubicBezTo>
                    <a:pt x="3252039" y="0"/>
                    <a:pt x="3627902" y="79959"/>
                    <a:pt x="3969768" y="224557"/>
                  </a:cubicBezTo>
                  <a:lnTo>
                    <a:pt x="4207249" y="338957"/>
                  </a:lnTo>
                  <a:lnTo>
                    <a:pt x="4370937" y="261908"/>
                  </a:lnTo>
                  <a:cubicBezTo>
                    <a:pt x="4719641" y="117793"/>
                    <a:pt x="5103021" y="38100"/>
                    <a:pt x="5505450" y="38100"/>
                  </a:cubicBezTo>
                  <a:cubicBezTo>
                    <a:pt x="7115167" y="38100"/>
                    <a:pt x="8420100" y="1313182"/>
                    <a:pt x="8420100" y="2886075"/>
                  </a:cubicBezTo>
                  <a:cubicBezTo>
                    <a:pt x="8420100" y="4262357"/>
                    <a:pt x="7421011" y="5410626"/>
                    <a:pt x="6092854" y="5676190"/>
                  </a:cubicBezTo>
                  <a:lnTo>
                    <a:pt x="5805316" y="5719069"/>
                  </a:lnTo>
                  <a:lnTo>
                    <a:pt x="5205585" y="5719069"/>
                  </a:lnTo>
                  <a:lnTo>
                    <a:pt x="4918047" y="5676190"/>
                  </a:lnTo>
                  <a:cubicBezTo>
                    <a:pt x="4728310" y="5638252"/>
                    <a:pt x="4545289" y="5582300"/>
                    <a:pt x="4370937" y="5510242"/>
                  </a:cubicBezTo>
                  <a:lnTo>
                    <a:pt x="4147245" y="5404949"/>
                  </a:lnTo>
                  <a:lnTo>
                    <a:pt x="3969768" y="5490444"/>
                  </a:lnTo>
                  <a:cubicBezTo>
                    <a:pt x="3627902" y="5635041"/>
                    <a:pt x="3252039" y="5715000"/>
                    <a:pt x="2857501" y="5715000"/>
                  </a:cubicBezTo>
                  <a:cubicBezTo>
                    <a:pt x="1279346" y="5715000"/>
                    <a:pt x="0" y="4435654"/>
                    <a:pt x="0" y="2857500"/>
                  </a:cubicBezTo>
                  <a:cubicBezTo>
                    <a:pt x="0" y="1279346"/>
                    <a:pt x="1279346" y="0"/>
                    <a:pt x="2857501" y="0"/>
                  </a:cubicBezTo>
                  <a:close/>
                </a:path>
              </a:pathLst>
            </a:custGeom>
          </p:spPr>
        </p:pic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A9088B87-BA3A-907D-ACC4-FF05E981AC33}"/>
                </a:ext>
              </a:extLst>
            </p:cNvPr>
            <p:cNvSpPr/>
            <p:nvPr/>
          </p:nvSpPr>
          <p:spPr>
            <a:xfrm>
              <a:off x="4476750" y="800100"/>
              <a:ext cx="5886450" cy="5676900"/>
            </a:xfrm>
            <a:prstGeom prst="ellipse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6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BCD06E50-5E3B-A6DB-B692-D275FF4AA91C}"/>
                </a:ext>
              </a:extLst>
            </p:cNvPr>
            <p:cNvSpPr/>
            <p:nvPr/>
          </p:nvSpPr>
          <p:spPr>
            <a:xfrm>
              <a:off x="1866900" y="762000"/>
              <a:ext cx="5886450" cy="5715000"/>
            </a:xfrm>
            <a:prstGeom prst="ellipse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6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extBox 4">
            <a:extLst>
              <a:ext uri="{FF2B5EF4-FFF2-40B4-BE49-F238E27FC236}">
                <a16:creationId xmlns:a16="http://schemas.microsoft.com/office/drawing/2014/main" id="{5E946C29-0C7A-EA42-6DC5-9644F4D51085}"/>
              </a:ext>
            </a:extLst>
          </p:cNvPr>
          <p:cNvSpPr txBox="1"/>
          <p:nvPr/>
        </p:nvSpPr>
        <p:spPr>
          <a:xfrm>
            <a:off x="302188" y="161542"/>
            <a:ext cx="10914725" cy="997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9B2B9A"/>
                </a:solidFill>
                <a:effectLst/>
                <a:uLnTx/>
                <a:uFillTx/>
                <a:latin typeface="Calibri" panose="020F0502020204030204"/>
                <a:ea typeface="Play"/>
                <a:cs typeface="Play"/>
                <a:sym typeface="Play"/>
              </a:rPr>
              <a:t>We accelerate the digital and sustainable transformation of agriculture by connecting the real and digital worlds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9B2B9A"/>
              </a:solidFill>
              <a:effectLst/>
              <a:uLnTx/>
              <a:uFillTx/>
              <a:latin typeface="Calibri" panose="020F0502020204030204"/>
              <a:ea typeface="Play"/>
              <a:cs typeface="Play"/>
              <a:sym typeface="Play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B6A567D-8264-F8A6-34B5-8746735511C1}"/>
              </a:ext>
            </a:extLst>
          </p:cNvPr>
          <p:cNvSpPr txBox="1"/>
          <p:nvPr/>
        </p:nvSpPr>
        <p:spPr>
          <a:xfrm>
            <a:off x="10573555" y="6452315"/>
            <a:ext cx="1618445" cy="4056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2F2F2"/>
              </a:buClr>
              <a:buSzTx/>
              <a:buFontTx/>
              <a:buNone/>
              <a:tabLst/>
              <a:defRPr/>
            </a:pPr>
            <a:r>
              <a:rPr kumimoji="0" lang="de-DE" sz="1400" b="0" i="0" u="none" strike="noStrike" kern="6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REASON WHY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B798D0C-68CD-4665-2693-A2275147F0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983" y="2789416"/>
            <a:ext cx="1161684" cy="1115251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E42F16D-67FC-A1F6-418B-772B29D2D908}"/>
              </a:ext>
            </a:extLst>
          </p:cNvPr>
          <p:cNvGrpSpPr/>
          <p:nvPr/>
        </p:nvGrpSpPr>
        <p:grpSpPr>
          <a:xfrm>
            <a:off x="2000586" y="2943304"/>
            <a:ext cx="2280699" cy="2813122"/>
            <a:chOff x="2000586" y="2943304"/>
            <a:chExt cx="2280699" cy="2813122"/>
          </a:xfrm>
        </p:grpSpPr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92DEF0D1-186F-F01F-9FBE-4E118AF7C8C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748325" y="2943304"/>
              <a:ext cx="1124854" cy="1077492"/>
            </a:xfrm>
            <a:prstGeom prst="rect">
              <a:avLst/>
            </a:prstGeom>
          </p:spPr>
        </p:pic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0F393695-9A39-8214-69CA-26956546C292}"/>
                </a:ext>
              </a:extLst>
            </p:cNvPr>
            <p:cNvGrpSpPr/>
            <p:nvPr/>
          </p:nvGrpSpPr>
          <p:grpSpPr>
            <a:xfrm>
              <a:off x="2000586" y="3813405"/>
              <a:ext cx="2280699" cy="1943021"/>
              <a:chOff x="1419389" y="4052537"/>
              <a:chExt cx="3158942" cy="2491579"/>
            </a:xfrm>
          </p:grpSpPr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C56237E4-64E7-AA04-00FC-B7D16A2824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duotone>
                  <a:srgbClr val="F2F2F2">
                    <a:shade val="45000"/>
                    <a:satMod val="135000"/>
                  </a:srgb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colorTemperature colorTemp="47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8"/>
                  </a:ext>
                </a:extLst>
              </a:blip>
              <a:stretch>
                <a:fillRect/>
              </a:stretch>
            </p:blipFill>
            <p:spPr>
              <a:xfrm>
                <a:off x="1419389" y="4555032"/>
                <a:ext cx="1411834" cy="1411834"/>
              </a:xfrm>
              <a:prstGeom prst="rect">
                <a:avLst/>
              </a:prstGeom>
            </p:spPr>
          </p:pic>
          <p:pic>
            <p:nvPicPr>
              <p:cNvPr id="22" name="Grafik 21">
                <a:extLst>
                  <a:ext uri="{FF2B5EF4-FFF2-40B4-BE49-F238E27FC236}">
                    <a16:creationId xmlns:a16="http://schemas.microsoft.com/office/drawing/2014/main" id="{B0DB761D-6503-5B0F-0DA9-C6E9AE326FB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sharpenSoften amount="-50000"/>
                        </a14:imgEffect>
                        <a14:imgEffect>
                          <a14:saturation sat="0"/>
                        </a14:imgEffect>
                      </a14:imgLayer>
                    </a14:imgProps>
                  </a:ext>
                </a:extLst>
              </a:blip>
              <a:srcRect b="6022"/>
              <a:stretch/>
            </p:blipFill>
            <p:spPr>
              <a:xfrm>
                <a:off x="2869817" y="4665734"/>
                <a:ext cx="1708514" cy="1309398"/>
              </a:xfrm>
              <a:prstGeom prst="rect">
                <a:avLst/>
              </a:prstGeom>
            </p:spPr>
          </p:pic>
          <p:pic>
            <p:nvPicPr>
              <p:cNvPr id="24" name="Grafik 23">
                <a:extLst>
                  <a:ext uri="{FF2B5EF4-FFF2-40B4-BE49-F238E27FC236}">
                    <a16:creationId xmlns:a16="http://schemas.microsoft.com/office/drawing/2014/main" id="{26C534CC-B785-8244-D244-3C5EF152B66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l="2022" t="17043" r="-1" b="9130"/>
              <a:stretch/>
            </p:blipFill>
            <p:spPr>
              <a:xfrm flipH="1">
                <a:off x="1781589" y="5536881"/>
                <a:ext cx="1268172" cy="1007235"/>
              </a:xfrm>
              <a:prstGeom prst="rect">
                <a:avLst/>
              </a:prstGeom>
            </p:spPr>
          </p:pic>
          <p:grpSp>
            <p:nvGrpSpPr>
              <p:cNvPr id="26" name="Gruppieren 25">
                <a:extLst>
                  <a:ext uri="{FF2B5EF4-FFF2-40B4-BE49-F238E27FC236}">
                    <a16:creationId xmlns:a16="http://schemas.microsoft.com/office/drawing/2014/main" id="{4FFFE4A0-41F6-3434-EA71-27098FF4862D}"/>
                  </a:ext>
                </a:extLst>
              </p:cNvPr>
              <p:cNvGrpSpPr/>
              <p:nvPr/>
            </p:nvGrpSpPr>
            <p:grpSpPr>
              <a:xfrm>
                <a:off x="1584458" y="4052537"/>
                <a:ext cx="1726511" cy="810114"/>
                <a:chOff x="-2201788" y="5012720"/>
                <a:chExt cx="1726511" cy="810114"/>
              </a:xfrm>
            </p:grpSpPr>
            <p:sp>
              <p:nvSpPr>
                <p:cNvPr id="27" name="Wolke 26">
                  <a:extLst>
                    <a:ext uri="{FF2B5EF4-FFF2-40B4-BE49-F238E27FC236}">
                      <a16:creationId xmlns:a16="http://schemas.microsoft.com/office/drawing/2014/main" id="{086DDD28-E0AE-5938-CAEE-19EC40B1A2A3}"/>
                    </a:ext>
                  </a:extLst>
                </p:cNvPr>
                <p:cNvSpPr/>
                <p:nvPr/>
              </p:nvSpPr>
              <p:spPr>
                <a:xfrm>
                  <a:off x="-2201788" y="5012720"/>
                  <a:ext cx="1651001" cy="810114"/>
                </a:xfrm>
                <a:prstGeom prst="cloud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Textfeld 27">
                  <a:extLst>
                    <a:ext uri="{FF2B5EF4-FFF2-40B4-BE49-F238E27FC236}">
                      <a16:creationId xmlns:a16="http://schemas.microsoft.com/office/drawing/2014/main" id="{F428190D-DBB1-1AF1-C7DA-9F78E0C1B4CE}"/>
                    </a:ext>
                  </a:extLst>
                </p:cNvPr>
                <p:cNvSpPr txBox="1"/>
                <p:nvPr/>
              </p:nvSpPr>
              <p:spPr>
                <a:xfrm>
                  <a:off x="-1894142" y="5180975"/>
                  <a:ext cx="1418865" cy="47360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9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+mn-ea"/>
                      <a:cs typeface="+mn-cs"/>
                    </a:rPr>
                    <a:t>Massive Cloud Processing</a:t>
                  </a:r>
                </a:p>
              </p:txBody>
            </p:sp>
          </p:grpSp>
        </p:grpSp>
      </p:grpSp>
      <p:pic>
        <p:nvPicPr>
          <p:cNvPr id="52" name="Grafik 51">
            <a:extLst>
              <a:ext uri="{FF2B5EF4-FFF2-40B4-BE49-F238E27FC236}">
                <a16:creationId xmlns:a16="http://schemas.microsoft.com/office/drawing/2014/main" id="{10BB2115-5BB8-308E-FDCE-34664E173A2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1614946"/>
            <a:ext cx="1779386" cy="1301452"/>
          </a:xfrm>
          <a:prstGeom prst="rect">
            <a:avLst/>
          </a:prstGeom>
        </p:spPr>
      </p:pic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A5377525-6EAF-95CC-ADCB-AA298FCFA95E}"/>
              </a:ext>
            </a:extLst>
          </p:cNvPr>
          <p:cNvGrpSpPr/>
          <p:nvPr/>
        </p:nvGrpSpPr>
        <p:grpSpPr>
          <a:xfrm>
            <a:off x="-260702" y="3540066"/>
            <a:ext cx="2137959" cy="2470212"/>
            <a:chOff x="594039" y="4515492"/>
            <a:chExt cx="1944388" cy="2283857"/>
          </a:xfrm>
        </p:grpSpPr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8A87C028-9AF5-5C19-A726-728051EFD7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l="22019" t="5833" r="33211" b="52500"/>
            <a:stretch/>
          </p:blipFill>
          <p:spPr>
            <a:xfrm>
              <a:off x="876301" y="5600700"/>
              <a:ext cx="1662126" cy="1198649"/>
            </a:xfrm>
            <a:prstGeom prst="rect">
              <a:avLst/>
            </a:prstGeom>
          </p:spPr>
        </p:pic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41853F3E-11DC-8A37-CF58-DA337AC69A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4039" y="4515492"/>
              <a:ext cx="1902085" cy="1358406"/>
            </a:xfrm>
            <a:prstGeom prst="rect">
              <a:avLst/>
            </a:prstGeom>
            <a:ln>
              <a:noFill/>
            </a:ln>
            <a:effectLst>
              <a:reflection blurRad="12700" stA="30000" endPos="30000" dist="5000" dir="5400000" sy="-100000" algn="bl" rotWithShape="0"/>
            </a:effectLst>
            <a:scene3d>
              <a:camera prst="perspectiveContrastingLeftFacing">
                <a:rot lat="300000" lon="19800000" rev="0"/>
              </a:camera>
              <a:lightRig rig="threePt" dir="t">
                <a:rot lat="0" lon="0" rev="2700000"/>
              </a:lightRig>
            </a:scene3d>
            <a:sp3d>
              <a:bevelT w="63500" h="50800"/>
            </a:sp3d>
          </p:spPr>
        </p:pic>
      </p:grpSp>
      <p:pic>
        <p:nvPicPr>
          <p:cNvPr id="53" name="Grafik 52">
            <a:hlinkClick r:id="" action="ppaction://noaction"/>
            <a:extLst>
              <a:ext uri="{FF2B5EF4-FFF2-40B4-BE49-F238E27FC236}">
                <a16:creationId xmlns:a16="http://schemas.microsoft.com/office/drawing/2014/main" id="{E0F974DD-447F-059C-17D4-5EEF80A37784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4243" y="107974"/>
            <a:ext cx="760427" cy="760427"/>
          </a:xfrm>
          <a:prstGeom prst="rect">
            <a:avLst/>
          </a:prstGeom>
        </p:spPr>
      </p:pic>
      <p:graphicFrame>
        <p:nvGraphicFramePr>
          <p:cNvPr id="57" name="Diagramm 56">
            <a:extLst>
              <a:ext uri="{FF2B5EF4-FFF2-40B4-BE49-F238E27FC236}">
                <a16:creationId xmlns:a16="http://schemas.microsoft.com/office/drawing/2014/main" id="{D7901B6A-0AFC-2707-B085-28A410AEEFA5}"/>
              </a:ext>
            </a:extLst>
          </p:cNvPr>
          <p:cNvGraphicFramePr/>
          <p:nvPr/>
        </p:nvGraphicFramePr>
        <p:xfrm>
          <a:off x="0" y="6159300"/>
          <a:ext cx="12192000" cy="673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12C949D-6868-8D95-41DA-6444DF95FD63}"/>
              </a:ext>
            </a:extLst>
          </p:cNvPr>
          <p:cNvGrpSpPr/>
          <p:nvPr/>
        </p:nvGrpSpPr>
        <p:grpSpPr>
          <a:xfrm>
            <a:off x="9659907" y="1175268"/>
            <a:ext cx="2404013" cy="4916994"/>
            <a:chOff x="9903540" y="1160669"/>
            <a:chExt cx="2404013" cy="4916994"/>
          </a:xfrm>
        </p:grpSpPr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E5441F04-FF1A-EBCE-24FF-30B69D2747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9903540" y="1160669"/>
              <a:ext cx="1445379" cy="2010305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9" name="Grafik 58">
              <a:extLst>
                <a:ext uri="{FF2B5EF4-FFF2-40B4-BE49-F238E27FC236}">
                  <a16:creationId xmlns:a16="http://schemas.microsoft.com/office/drawing/2014/main" id="{8B74B094-A888-3DCD-7199-E07E08B499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516" t="11113" r="5457" b="12426"/>
            <a:stretch/>
          </p:blipFill>
          <p:spPr>
            <a:xfrm>
              <a:off x="10482718" y="4834032"/>
              <a:ext cx="1236805" cy="1243631"/>
            </a:xfrm>
            <a:prstGeom prst="rect">
              <a:avLst/>
            </a:prstGeom>
          </p:spPr>
        </p:pic>
        <p:pic>
          <p:nvPicPr>
            <p:cNvPr id="60" name="Grafik 59">
              <a:extLst>
                <a:ext uri="{FF2B5EF4-FFF2-40B4-BE49-F238E27FC236}">
                  <a16:creationId xmlns:a16="http://schemas.microsoft.com/office/drawing/2014/main" id="{767C0382-0196-2298-0A7B-4690897C32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rcRect l="16670" r="3260" b="7558"/>
            <a:stretch/>
          </p:blipFill>
          <p:spPr>
            <a:xfrm>
              <a:off x="10458000" y="1906656"/>
              <a:ext cx="1849553" cy="1421217"/>
            </a:xfrm>
            <a:prstGeom prst="rect">
              <a:avLst/>
            </a:prstGeom>
          </p:spPr>
        </p:pic>
        <p:pic>
          <p:nvPicPr>
            <p:cNvPr id="61" name="Grafik 60">
              <a:extLst>
                <a:ext uri="{FF2B5EF4-FFF2-40B4-BE49-F238E27FC236}">
                  <a16:creationId xmlns:a16="http://schemas.microsoft.com/office/drawing/2014/main" id="{49044852-74F2-C6C9-83B2-93746BDB3F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690149" y="3402384"/>
              <a:ext cx="1320226" cy="1324934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208279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graphicEl>
                                              <a:dgm id="{0B283A47-1B1A-47F0-AFE2-4797AF60252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7">
                                            <p:graphicEl>
                                              <a:dgm id="{0B283A47-1B1A-47F0-AFE2-4797AF60252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7">
                                            <p:graphicEl>
                                              <a:dgm id="{DCBD45D4-77C0-4EA6-986C-D179EAC6A9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7">
                                            <p:graphicEl>
                                              <a:dgm id="{70C87416-A187-4140-859F-E5360D54F3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7">
                                            <p:graphicEl>
                                              <a:dgm id="{9B9AEDFC-941D-4EB9-9FDC-24771B0AE70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7" grpId="0" uiExpand="1">
        <p:bldSub>
          <a:bldDgm bld="lvlOne"/>
        </p:bldSub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6DDAE2-ABB0-90AC-B8F4-FD80EBA3CA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43092427-8E70-733C-B42E-2AC232A82C71}"/>
              </a:ext>
            </a:extLst>
          </p:cNvPr>
          <p:cNvSpPr/>
          <p:nvPr/>
        </p:nvSpPr>
        <p:spPr>
          <a:xfrm>
            <a:off x="-88777" y="0"/>
            <a:ext cx="12280777" cy="6858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6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4">
            <a:extLst>
              <a:ext uri="{FF2B5EF4-FFF2-40B4-BE49-F238E27FC236}">
                <a16:creationId xmlns:a16="http://schemas.microsoft.com/office/drawing/2014/main" id="{2A58F25F-B29B-A461-C239-793384CEEF9B}"/>
              </a:ext>
            </a:extLst>
          </p:cNvPr>
          <p:cNvSpPr txBox="1"/>
          <p:nvPr/>
        </p:nvSpPr>
        <p:spPr>
          <a:xfrm>
            <a:off x="302188" y="161542"/>
            <a:ext cx="10914725" cy="997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9B2B9A"/>
                </a:solidFill>
                <a:effectLst/>
                <a:uLnTx/>
                <a:uFillTx/>
                <a:latin typeface="Calibri" panose="020F0502020204030204"/>
                <a:ea typeface="Play"/>
                <a:cs typeface="Play"/>
                <a:sym typeface="Play"/>
              </a:rPr>
              <a:t>Using complex Digital Twins</a:t>
            </a:r>
            <a:r>
              <a:rPr kumimoji="0" lang="en-GB" sz="3600" b="1" i="0" u="none" strike="noStrike" kern="1200" cap="none" spc="0" normalizeH="0" noProof="0" dirty="0">
                <a:ln>
                  <a:noFill/>
                </a:ln>
                <a:solidFill>
                  <a:srgbClr val="9B2B9A"/>
                </a:solidFill>
                <a:effectLst/>
                <a:uLnTx/>
                <a:uFillTx/>
                <a:latin typeface="Calibri" panose="020F0502020204030204"/>
                <a:ea typeface="Play"/>
                <a:cs typeface="Play"/>
                <a:sym typeface="Play"/>
              </a:rPr>
              <a:t> for providing </a:t>
            </a:r>
            <a:r>
              <a:rPr lang="en-GB" sz="3600" b="1" dirty="0">
                <a:solidFill>
                  <a:srgbClr val="9B2B9A"/>
                </a:solidFill>
                <a:latin typeface="Calibri" panose="020F0502020204030204"/>
                <a:ea typeface="Play"/>
                <a:cs typeface="Play"/>
                <a:sym typeface="Play"/>
              </a:rPr>
              <a:t>e</a:t>
            </a:r>
            <a:r>
              <a:rPr kumimoji="0" lang="en-GB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9B2B9A"/>
                </a:solidFill>
                <a:effectLst/>
                <a:uLnTx/>
                <a:uFillTx/>
                <a:latin typeface="Calibri" panose="020F0502020204030204"/>
                <a:ea typeface="Play"/>
                <a:cs typeface="Play"/>
                <a:sym typeface="Play"/>
              </a:rPr>
              <a:t>asy</a:t>
            </a: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9B2B9A"/>
                </a:solidFill>
                <a:effectLst/>
                <a:uLnTx/>
                <a:uFillTx/>
                <a:latin typeface="Calibri" panose="020F0502020204030204"/>
                <a:ea typeface="Play"/>
                <a:cs typeface="Play"/>
                <a:sym typeface="Play"/>
              </a:rPr>
              <a:t>-to-use solutions serving the </a:t>
            </a:r>
            <a:r>
              <a:rPr lang="en-GB" sz="3600" b="1" dirty="0">
                <a:solidFill>
                  <a:srgbClr val="9B2B9A"/>
                </a:solidFill>
                <a:latin typeface="Calibri" panose="020F0502020204030204"/>
                <a:ea typeface="Play"/>
                <a:cs typeface="Play"/>
                <a:sym typeface="Play"/>
              </a:rPr>
              <a:t>farmers needs.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9B2B9A"/>
              </a:solidFill>
              <a:effectLst/>
              <a:uLnTx/>
              <a:uFillTx/>
              <a:latin typeface="Calibri" panose="020F0502020204030204"/>
              <a:ea typeface="Play"/>
              <a:cs typeface="Play"/>
              <a:sym typeface="Play"/>
            </a:endParaRPr>
          </a:p>
        </p:txBody>
      </p:sp>
      <p:pic>
        <p:nvPicPr>
          <p:cNvPr id="53" name="Grafik 52">
            <a:hlinkClick r:id="" action="ppaction://noaction"/>
            <a:extLst>
              <a:ext uri="{FF2B5EF4-FFF2-40B4-BE49-F238E27FC236}">
                <a16:creationId xmlns:a16="http://schemas.microsoft.com/office/drawing/2014/main" id="{C99F888E-1B5C-1F83-2CFB-FC7D6E3A820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4243" y="107974"/>
            <a:ext cx="760427" cy="760427"/>
          </a:xfrm>
          <a:prstGeom prst="rect">
            <a:avLst/>
          </a:prstGeom>
        </p:spPr>
      </p:pic>
      <p:pic>
        <p:nvPicPr>
          <p:cNvPr id="7" name="VR_Platform">
            <a:hlinkClick r:id="" action="ppaction://media"/>
            <a:extLst>
              <a:ext uri="{FF2B5EF4-FFF2-40B4-BE49-F238E27FC236}">
                <a16:creationId xmlns:a16="http://schemas.microsoft.com/office/drawing/2014/main" id="{FC135E9A-329C-017C-2643-EB84E27A7F3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-304800" y="1185663"/>
            <a:ext cx="12496800" cy="5355074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4917159C-2E4F-A6EA-9871-B9C011EE2F1E}"/>
              </a:ext>
            </a:extLst>
          </p:cNvPr>
          <p:cNvSpPr/>
          <p:nvPr/>
        </p:nvSpPr>
        <p:spPr>
          <a:xfrm>
            <a:off x="-67261" y="1032734"/>
            <a:ext cx="551357" cy="5825266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en-GB" sz="1400" kern="600" spc="0" baseline="0" dirty="0" err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B19867F-3FC8-2965-175A-A1CA6B1C25BE}"/>
              </a:ext>
            </a:extLst>
          </p:cNvPr>
          <p:cNvSpPr/>
          <p:nvPr/>
        </p:nvSpPr>
        <p:spPr>
          <a:xfrm>
            <a:off x="11418630" y="1032734"/>
            <a:ext cx="773370" cy="5825266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en-GB" sz="1400" kern="600" spc="0" baseline="0" dirty="0" err="1"/>
          </a:p>
        </p:txBody>
      </p:sp>
    </p:spTree>
    <p:extLst>
      <p:ext uri="{BB962C8B-B14F-4D97-AF65-F5344CB8AC3E}">
        <p14:creationId xmlns:p14="http://schemas.microsoft.com/office/powerpoint/2010/main" val="2227641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5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21720077-AFAC-BB3A-D3BD-DB404386961B}"/>
              </a:ext>
            </a:extLst>
          </p:cNvPr>
          <p:cNvGrpSpPr/>
          <p:nvPr/>
        </p:nvGrpSpPr>
        <p:grpSpPr>
          <a:xfrm>
            <a:off x="113571" y="1494868"/>
            <a:ext cx="5683485" cy="4116464"/>
            <a:chOff x="-5501136" y="1634204"/>
            <a:chExt cx="10906224" cy="7636854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5AA1354C-0061-CC61-8D30-3DDCAA59D3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50217" y="4931452"/>
              <a:ext cx="509037" cy="238611"/>
            </a:xfrm>
            <a:prstGeom prst="rect">
              <a:avLst/>
            </a:prstGeom>
          </p:spPr>
        </p:pic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FD7F8206-8E49-21E6-EA0B-42274265D372}"/>
                </a:ext>
              </a:extLst>
            </p:cNvPr>
            <p:cNvSpPr/>
            <p:nvPr/>
          </p:nvSpPr>
          <p:spPr>
            <a:xfrm>
              <a:off x="2085250" y="2979175"/>
              <a:ext cx="1681316" cy="1666567"/>
            </a:xfrm>
            <a:prstGeom prst="ellipse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6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Gebogener Pfeil 201">
              <a:extLst>
                <a:ext uri="{FF2B5EF4-FFF2-40B4-BE49-F238E27FC236}">
                  <a16:creationId xmlns:a16="http://schemas.microsoft.com/office/drawing/2014/main" id="{2739FC8C-99B3-5995-2B3A-5645EB2B1D4A}"/>
                </a:ext>
              </a:extLst>
            </p:cNvPr>
            <p:cNvSpPr/>
            <p:nvPr/>
          </p:nvSpPr>
          <p:spPr>
            <a:xfrm rot="2338257">
              <a:off x="1564706" y="2524682"/>
              <a:ext cx="2677394" cy="2600900"/>
            </a:xfrm>
            <a:prstGeom prst="circularArrow">
              <a:avLst>
                <a:gd name="adj1" fmla="val 12197"/>
                <a:gd name="adj2" fmla="val 1149695"/>
                <a:gd name="adj3" fmla="val 8996822"/>
                <a:gd name="adj4" fmla="val 10252558"/>
                <a:gd name="adj5" fmla="val 12684"/>
              </a:avLst>
            </a:prstGeom>
            <a:gradFill flip="none" rotWithShape="1">
              <a:gsLst>
                <a:gs pos="11000">
                  <a:srgbClr val="C6EBB3">
                    <a:alpha val="91000"/>
                  </a:srgbClr>
                </a:gs>
                <a:gs pos="75000">
                  <a:srgbClr val="CCE3FA">
                    <a:alpha val="91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endParaRP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2E48EBA4-D844-869D-F244-145489E93C1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18021" y="3098953"/>
              <a:ext cx="1975318" cy="1381561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BA545B5F-8E61-30B8-9C11-87D2D56505A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17029" y="1634204"/>
              <a:ext cx="1434992" cy="1048573"/>
            </a:xfrm>
            <a:prstGeom prst="rect">
              <a:avLst/>
            </a:prstGeom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A6DC1990-EB7C-73DE-293D-E5A0DB5F355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872" y="2119907"/>
              <a:ext cx="1378272" cy="1001035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E8DA8DD6-89A8-1148-4BFE-4E163DE11A9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33879" y="2030989"/>
              <a:ext cx="1415652" cy="1051411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D0A4A8E2-28CB-0DDB-4911-954D3078D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62088" y="4729957"/>
              <a:ext cx="1429490" cy="1051411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68EB8E6D-9A13-E5A5-5569-9E4FFAEA7D8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175407" y="4744706"/>
              <a:ext cx="1443593" cy="1051411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895F9C13-F751-2DCB-B8D5-CC06350E6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971589" y="3334025"/>
              <a:ext cx="1433499" cy="1051411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A6F1F17D-91C7-858A-D5D3-E3A56C6293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98812" y="3510446"/>
              <a:ext cx="1441617" cy="1051411"/>
            </a:xfrm>
            <a:prstGeom prst="rect">
              <a:avLst/>
            </a:prstGeom>
          </p:spPr>
        </p:pic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790F1CA6-6258-0B93-6B61-39593A5EC15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5501136" y="7889496"/>
              <a:ext cx="1975318" cy="1381562"/>
            </a:xfrm>
            <a:prstGeom prst="rect">
              <a:avLst/>
            </a:prstGeom>
          </p:spPr>
        </p:pic>
      </p:grpSp>
      <p:pic>
        <p:nvPicPr>
          <p:cNvPr id="18" name="Grafik 17">
            <a:extLst>
              <a:ext uri="{FF2B5EF4-FFF2-40B4-BE49-F238E27FC236}">
                <a16:creationId xmlns:a16="http://schemas.microsoft.com/office/drawing/2014/main" id="{3BFAB5A1-5C67-A39A-AC2F-ECBD7D49CC0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06636" y="843733"/>
            <a:ext cx="740459" cy="715514"/>
          </a:xfrm>
          <a:prstGeom prst="rect">
            <a:avLst/>
          </a:prstGeom>
        </p:spPr>
      </p:pic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695310E4-63B0-7E3E-F789-3EA544B47410}"/>
              </a:ext>
            </a:extLst>
          </p:cNvPr>
          <p:cNvGrpSpPr/>
          <p:nvPr/>
        </p:nvGrpSpPr>
        <p:grpSpPr>
          <a:xfrm>
            <a:off x="316769" y="1406087"/>
            <a:ext cx="2649405" cy="2569666"/>
            <a:chOff x="3699311" y="1842470"/>
            <a:chExt cx="2946823" cy="3067728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9E396443-4F07-96F3-2617-AB4902B51C07}"/>
                </a:ext>
              </a:extLst>
            </p:cNvPr>
            <p:cNvGrpSpPr/>
            <p:nvPr/>
          </p:nvGrpSpPr>
          <p:grpSpPr>
            <a:xfrm>
              <a:off x="3699311" y="1842470"/>
              <a:ext cx="2946823" cy="3067728"/>
              <a:chOff x="6529230" y="1391726"/>
              <a:chExt cx="5092500" cy="5208349"/>
            </a:xfrm>
          </p:grpSpPr>
          <p:pic>
            <p:nvPicPr>
              <p:cNvPr id="24" name="Grafik 23">
                <a:extLst>
                  <a:ext uri="{FF2B5EF4-FFF2-40B4-BE49-F238E27FC236}">
                    <a16:creationId xmlns:a16="http://schemas.microsoft.com/office/drawing/2014/main" id="{D392C0C7-5C45-8B64-F687-E88FD7FB309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13"/>
              <a:stretch/>
            </p:blipFill>
            <p:spPr>
              <a:xfrm>
                <a:off x="6529230" y="1391726"/>
                <a:ext cx="5092500" cy="5208349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25" name="Textfeld 24">
                <a:extLst>
                  <a:ext uri="{FF2B5EF4-FFF2-40B4-BE49-F238E27FC236}">
                    <a16:creationId xmlns:a16="http://schemas.microsoft.com/office/drawing/2014/main" id="{60A42919-E3AD-4EAB-3599-71EED58E28B2}"/>
                  </a:ext>
                </a:extLst>
              </p:cNvPr>
              <p:cNvSpPr txBox="1"/>
              <p:nvPr/>
            </p:nvSpPr>
            <p:spPr>
              <a:xfrm>
                <a:off x="7700197" y="2444452"/>
                <a:ext cx="1296143" cy="457058"/>
              </a:xfrm>
              <a:prstGeom prst="rect">
                <a:avLst/>
              </a:prstGeom>
              <a:solidFill>
                <a:srgbClr val="92D050">
                  <a:alpha val="43922"/>
                </a:srgbClr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F Ertragskarte</a:t>
                </a:r>
                <a:br>
                  <a:rPr kumimoji="0" lang="de-DE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r>
                  <a:rPr kumimoji="0" lang="de-DE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/ha</a:t>
                </a:r>
                <a:endPara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Textfeld 25">
                <a:extLst>
                  <a:ext uri="{FF2B5EF4-FFF2-40B4-BE49-F238E27FC236}">
                    <a16:creationId xmlns:a16="http://schemas.microsoft.com/office/drawing/2014/main" id="{B1F5B88B-A766-A5B5-9BD8-63EABB5A9EB2}"/>
                  </a:ext>
                </a:extLst>
              </p:cNvPr>
              <p:cNvSpPr txBox="1"/>
              <p:nvPr/>
            </p:nvSpPr>
            <p:spPr>
              <a:xfrm>
                <a:off x="9930600" y="2031918"/>
                <a:ext cx="1571673" cy="457058"/>
              </a:xfrm>
              <a:prstGeom prst="rect">
                <a:avLst/>
              </a:prstGeom>
              <a:solidFill>
                <a:srgbClr val="92D050">
                  <a:alpha val="43922"/>
                </a:srgbClr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F Biomasse Karte 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/ha</a:t>
                </a:r>
                <a:endPara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Textfeld 26">
                <a:extLst>
                  <a:ext uri="{FF2B5EF4-FFF2-40B4-BE49-F238E27FC236}">
                    <a16:creationId xmlns:a16="http://schemas.microsoft.com/office/drawing/2014/main" id="{0B2DC0E0-6F89-839E-08E0-643C607A93DA}"/>
                  </a:ext>
                </a:extLst>
              </p:cNvPr>
              <p:cNvSpPr txBox="1"/>
              <p:nvPr/>
            </p:nvSpPr>
            <p:spPr>
              <a:xfrm>
                <a:off x="7566585" y="5355858"/>
                <a:ext cx="1296143" cy="571323"/>
              </a:xfrm>
              <a:prstGeom prst="rect">
                <a:avLst/>
              </a:prstGeom>
              <a:solidFill>
                <a:srgbClr val="92D050">
                  <a:alpha val="43922"/>
                </a:srgbClr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F Basiskarte</a:t>
                </a:r>
                <a:br>
                  <a:rPr kumimoji="0" lang="de-DE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r>
                  <a:rPr kumimoji="0" lang="de-DE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angjährige Biomassemuster</a:t>
                </a:r>
                <a:endPara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Textfeld 27">
                <a:extLst>
                  <a:ext uri="{FF2B5EF4-FFF2-40B4-BE49-F238E27FC236}">
                    <a16:creationId xmlns:a16="http://schemas.microsoft.com/office/drawing/2014/main" id="{0628F93B-3C3F-ABD7-7B54-9D8B5F818148}"/>
                  </a:ext>
                </a:extLst>
              </p:cNvPr>
              <p:cNvSpPr txBox="1"/>
              <p:nvPr/>
            </p:nvSpPr>
            <p:spPr>
              <a:xfrm>
                <a:off x="10122420" y="5751388"/>
                <a:ext cx="1452786" cy="571323"/>
              </a:xfrm>
              <a:prstGeom prst="rect">
                <a:avLst/>
              </a:prstGeom>
              <a:solidFill>
                <a:srgbClr val="92D050">
                  <a:alpha val="43922"/>
                </a:srgbClr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F Zonenkarte</a:t>
                </a:r>
                <a:br>
                  <a:rPr kumimoji="0" lang="de-DE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r>
                  <a:rPr kumimoji="0" lang="de-DE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och- und Niedrigertragszonen</a:t>
                </a:r>
                <a:endPara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Textfeld 28">
                <a:extLst>
                  <a:ext uri="{FF2B5EF4-FFF2-40B4-BE49-F238E27FC236}">
                    <a16:creationId xmlns:a16="http://schemas.microsoft.com/office/drawing/2014/main" id="{CAA72285-A7A3-B358-1915-A99ED80325D6}"/>
                  </a:ext>
                </a:extLst>
              </p:cNvPr>
              <p:cNvSpPr txBox="1"/>
              <p:nvPr/>
            </p:nvSpPr>
            <p:spPr>
              <a:xfrm>
                <a:off x="9885590" y="3429001"/>
                <a:ext cx="1639912" cy="628454"/>
              </a:xfrm>
              <a:prstGeom prst="rect">
                <a:avLst/>
              </a:prstGeom>
              <a:solidFill>
                <a:srgbClr val="92D050">
                  <a:alpha val="43922"/>
                </a:srgbClr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F Ertragspotentialkarte</a:t>
                </a:r>
                <a:br>
                  <a:rPr kumimoji="0" lang="de-DE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r>
                  <a:rPr kumimoji="0" lang="de-DE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/ha</a:t>
                </a:r>
                <a:endPara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Textfeld 29">
                <a:extLst>
                  <a:ext uri="{FF2B5EF4-FFF2-40B4-BE49-F238E27FC236}">
                    <a16:creationId xmlns:a16="http://schemas.microsoft.com/office/drawing/2014/main" id="{E6A95A35-9365-A0EF-C446-E0FB768F6DBE}"/>
                  </a:ext>
                </a:extLst>
              </p:cNvPr>
              <p:cNvSpPr txBox="1"/>
              <p:nvPr/>
            </p:nvSpPr>
            <p:spPr>
              <a:xfrm>
                <a:off x="7832473" y="3204339"/>
                <a:ext cx="1576363" cy="457058"/>
              </a:xfrm>
              <a:prstGeom prst="rect">
                <a:avLst/>
              </a:prstGeom>
              <a:solidFill>
                <a:srgbClr val="92D050">
                  <a:alpha val="43922"/>
                </a:srgbClr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F Blattfläche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²/m²</a:t>
                </a:r>
                <a:endPara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E333088D-FE05-764F-958B-F97A96A47409}"/>
                  </a:ext>
                </a:extLst>
              </p:cNvPr>
              <p:cNvSpPr txBox="1"/>
              <p:nvPr/>
            </p:nvSpPr>
            <p:spPr>
              <a:xfrm>
                <a:off x="6998058" y="4303792"/>
                <a:ext cx="1935312" cy="457058"/>
              </a:xfrm>
              <a:prstGeom prst="rect">
                <a:avLst/>
              </a:prstGeom>
              <a:solidFill>
                <a:srgbClr val="92D050">
                  <a:alpha val="43922"/>
                </a:srgbClr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F Blattchlorophyll</a:t>
                </a:r>
                <a:br>
                  <a:rPr kumimoji="0" lang="de-DE" sz="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r>
                  <a:rPr kumimoji="0" lang="de-DE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µg/cm² (Blattfläche)</a:t>
                </a:r>
                <a:endPara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3" name="AutoShape 10" descr="Microsoft Azure - Clouddienste für Entwickler - OnDemand4U">
              <a:extLst>
                <a:ext uri="{FF2B5EF4-FFF2-40B4-BE49-F238E27FC236}">
                  <a16:creationId xmlns:a16="http://schemas.microsoft.com/office/drawing/2014/main" id="{0119AE2B-502A-F43C-13E1-7493CA9AA12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958114" y="4147457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96F8EEB8-1395-4FE4-DCE0-CA68496DC1C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463612" y="2222340"/>
            <a:ext cx="2294769" cy="662840"/>
          </a:xfrm>
          <a:prstGeom prst="rect">
            <a:avLst/>
          </a:prstGeom>
        </p:spPr>
      </p:pic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07671F2C-6BAF-2758-8B7D-EEAD7D422498}"/>
              </a:ext>
            </a:extLst>
          </p:cNvPr>
          <p:cNvCxnSpPr>
            <a:cxnSpLocks/>
          </p:cNvCxnSpPr>
          <p:nvPr/>
        </p:nvCxnSpPr>
        <p:spPr>
          <a:xfrm>
            <a:off x="560680" y="4856271"/>
            <a:ext cx="10557973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8D34D7E8-7800-C98D-EC3D-294971E061E1}"/>
              </a:ext>
            </a:extLst>
          </p:cNvPr>
          <p:cNvSpPr txBox="1"/>
          <p:nvPr/>
        </p:nvSpPr>
        <p:spPr>
          <a:xfrm>
            <a:off x="894374" y="4526403"/>
            <a:ext cx="1096148" cy="2074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2F2F2"/>
              </a:buClr>
              <a:buSzTx/>
              <a:buFontTx/>
              <a:buNone/>
              <a:tabLst/>
              <a:defRPr/>
            </a:pPr>
            <a:r>
              <a:rPr kumimoji="0" lang="de-DE" sz="2000" b="1" i="0" u="none" strike="noStrike" kern="6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                              ROI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B108816A-56ED-F04F-F870-9572B09BA2DC}"/>
              </a:ext>
            </a:extLst>
          </p:cNvPr>
          <p:cNvSpPr txBox="1"/>
          <p:nvPr/>
        </p:nvSpPr>
        <p:spPr>
          <a:xfrm>
            <a:off x="765080" y="4857530"/>
            <a:ext cx="31892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rt Farming 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SA IAP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5019FBC5-BCEF-3C19-ACC4-F4CAB1D89083}"/>
              </a:ext>
            </a:extLst>
          </p:cNvPr>
          <p:cNvSpPr txBox="1"/>
          <p:nvPr/>
        </p:nvSpPr>
        <p:spPr>
          <a:xfrm>
            <a:off x="4123204" y="4526403"/>
            <a:ext cx="1096148" cy="2074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2F2F2"/>
              </a:buClr>
              <a:buSzTx/>
              <a:buFontTx/>
              <a:buNone/>
              <a:tabLst/>
              <a:defRPr/>
            </a:pPr>
            <a:r>
              <a:rPr kumimoji="0" lang="de-DE" sz="2000" b="1" i="0" u="none" strike="noStrike" kern="6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F745748D-E122-C714-9214-5D08D2F63441}"/>
              </a:ext>
            </a:extLst>
          </p:cNvPr>
          <p:cNvSpPr txBox="1"/>
          <p:nvPr/>
        </p:nvSpPr>
        <p:spPr>
          <a:xfrm>
            <a:off x="6801793" y="4548706"/>
            <a:ext cx="1096148" cy="2074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2F2F2"/>
              </a:buClr>
              <a:buSzTx/>
              <a:buFontTx/>
              <a:buNone/>
              <a:tabLst/>
              <a:defRPr/>
            </a:pPr>
            <a:r>
              <a:rPr kumimoji="0" lang="de-DE" sz="2000" b="1" i="0" u="none" strike="noStrike" kern="6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4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FFC75610-2AA0-063F-AD86-F68C940D0E80}"/>
              </a:ext>
            </a:extLst>
          </p:cNvPr>
          <p:cNvSpPr txBox="1"/>
          <p:nvPr/>
        </p:nvSpPr>
        <p:spPr>
          <a:xfrm>
            <a:off x="6417617" y="4150808"/>
            <a:ext cx="21503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mation, 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aling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5782FC47-370E-20BB-8011-2230C10D19D7}"/>
              </a:ext>
            </a:extLst>
          </p:cNvPr>
          <p:cNvSpPr txBox="1"/>
          <p:nvPr/>
        </p:nvSpPr>
        <p:spPr>
          <a:xfrm>
            <a:off x="3350351" y="3890630"/>
            <a:ext cx="22318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rther development of the service</a:t>
            </a:r>
          </a:p>
        </p:txBody>
      </p:sp>
      <p:sp>
        <p:nvSpPr>
          <p:cNvPr id="44" name="AutoShape 2">
            <a:extLst>
              <a:ext uri="{FF2B5EF4-FFF2-40B4-BE49-F238E27FC236}">
                <a16:creationId xmlns:a16="http://schemas.microsoft.com/office/drawing/2014/main" id="{CBBCBA29-975A-2897-D6F6-654BB7D4766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736665" y="2574401"/>
            <a:ext cx="274037" cy="255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2" name="Grafik 71">
            <a:extLst>
              <a:ext uri="{FF2B5EF4-FFF2-40B4-BE49-F238E27FC236}">
                <a16:creationId xmlns:a16="http://schemas.microsoft.com/office/drawing/2014/main" id="{C30FDE1D-D4CD-2B51-AF77-2CAB7B6D20F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719880" y="4016060"/>
            <a:ext cx="1452563" cy="415018"/>
          </a:xfrm>
          <a:prstGeom prst="rect">
            <a:avLst/>
          </a:prstGeom>
        </p:spPr>
      </p:pic>
      <p:pic>
        <p:nvPicPr>
          <p:cNvPr id="74" name="Grafik 73">
            <a:extLst>
              <a:ext uri="{FF2B5EF4-FFF2-40B4-BE49-F238E27FC236}">
                <a16:creationId xmlns:a16="http://schemas.microsoft.com/office/drawing/2014/main" id="{23A3C259-F89C-6E6B-B99C-B4E83AC6308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424244" y="1617576"/>
            <a:ext cx="1079346" cy="533400"/>
          </a:xfrm>
          <a:prstGeom prst="rect">
            <a:avLst/>
          </a:prstGeom>
        </p:spPr>
      </p:pic>
      <p:pic>
        <p:nvPicPr>
          <p:cNvPr id="2054" name="Picture 6" descr="logo_agco">
            <a:extLst>
              <a:ext uri="{FF2B5EF4-FFF2-40B4-BE49-F238E27FC236}">
                <a16:creationId xmlns:a16="http://schemas.microsoft.com/office/drawing/2014/main" id="{25B29CB3-0895-0A50-878B-BFA17CC8D4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0743" y="1628797"/>
            <a:ext cx="1281881" cy="47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Grafik 88">
            <a:extLst>
              <a:ext uri="{FF2B5EF4-FFF2-40B4-BE49-F238E27FC236}">
                <a16:creationId xmlns:a16="http://schemas.microsoft.com/office/drawing/2014/main" id="{C0709A67-EDCA-0255-63F6-E8977AA5BC3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477814" y="1628797"/>
            <a:ext cx="2090174" cy="2509664"/>
          </a:xfrm>
          <a:prstGeom prst="rect">
            <a:avLst/>
          </a:prstGeom>
        </p:spPr>
      </p:pic>
      <p:pic>
        <p:nvPicPr>
          <p:cNvPr id="5" name="Picture 12" descr="Microsoft Azure - Clouddienste für Entwickler - OnDemand4U">
            <a:extLst>
              <a:ext uri="{FF2B5EF4-FFF2-40B4-BE49-F238E27FC236}">
                <a16:creationId xmlns:a16="http://schemas.microsoft.com/office/drawing/2014/main" id="{F373E9EB-01D2-93FF-A696-4745F9F6F0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68" r="2279" b="24690"/>
          <a:stretch/>
        </p:blipFill>
        <p:spPr bwMode="auto">
          <a:xfrm>
            <a:off x="6342588" y="1347269"/>
            <a:ext cx="2091317" cy="381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5">
            <a:extLst>
              <a:ext uri="{FF2B5EF4-FFF2-40B4-BE49-F238E27FC236}">
                <a16:creationId xmlns:a16="http://schemas.microsoft.com/office/drawing/2014/main" id="{73B220AA-6030-09FA-A629-18A6882D6593}"/>
              </a:ext>
            </a:extLst>
          </p:cNvPr>
          <p:cNvSpPr txBox="1"/>
          <p:nvPr/>
        </p:nvSpPr>
        <p:spPr>
          <a:xfrm>
            <a:off x="1061266" y="298625"/>
            <a:ext cx="8952745" cy="615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9B2B9A"/>
                </a:solidFill>
                <a:effectLst/>
                <a:uLnTx/>
                <a:uFillTx/>
                <a:latin typeface="Calibri" panose="020F0502020204030204"/>
                <a:ea typeface="Play"/>
                <a:cs typeface="Play"/>
                <a:sym typeface="Play"/>
              </a:rPr>
              <a:t>Development Paths of Vista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E43E4F7-1A9B-90FD-D0FC-EA4198D93197}"/>
              </a:ext>
            </a:extLst>
          </p:cNvPr>
          <p:cNvSpPr txBox="1"/>
          <p:nvPr/>
        </p:nvSpPr>
        <p:spPr>
          <a:xfrm>
            <a:off x="10570579" y="4958359"/>
            <a:ext cx="1096148" cy="2074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2F2F2"/>
              </a:buClr>
              <a:buSzTx/>
              <a:buFontTx/>
              <a:buNone/>
              <a:tabLst/>
              <a:defRPr/>
            </a:pPr>
            <a:r>
              <a:rPr kumimoji="0" lang="de-DE" sz="2000" b="1" i="0" u="none" strike="noStrike" kern="6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30</a:t>
            </a:r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10757F50-2438-5918-44CE-DBE809374A6A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4995" y="3081447"/>
            <a:ext cx="747807" cy="788564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35E84256-9AFB-9FD8-34D8-731BED9F0104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241992" y="2971967"/>
            <a:ext cx="997792" cy="585066"/>
          </a:xfrm>
          <a:prstGeom prst="rect">
            <a:avLst/>
          </a:prstGeom>
        </p:spPr>
      </p:pic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4C2393E3-DDCA-8DE5-4781-E6ECA1F197D8}"/>
              </a:ext>
            </a:extLst>
          </p:cNvPr>
          <p:cNvGrpSpPr/>
          <p:nvPr/>
        </p:nvGrpSpPr>
        <p:grpSpPr>
          <a:xfrm>
            <a:off x="3278053" y="5006786"/>
            <a:ext cx="7894390" cy="744698"/>
            <a:chOff x="3224263" y="5108387"/>
            <a:chExt cx="7894390" cy="744698"/>
          </a:xfrm>
        </p:grpSpPr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91164FC5-275C-ED0D-A475-4F6517BC9A3D}"/>
                </a:ext>
              </a:extLst>
            </p:cNvPr>
            <p:cNvSpPr txBox="1"/>
            <p:nvPr/>
          </p:nvSpPr>
          <p:spPr>
            <a:xfrm>
              <a:off x="4001884" y="5450144"/>
              <a:ext cx="3494547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solidFill>
                    <a:schemeClr val="bg2"/>
                  </a:solidFill>
                  <a:latin typeface="Calibri" panose="020F0502020204030204"/>
                </a:rPr>
                <a:t>N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w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Space</a:t>
              </a:r>
              <a:r>
                <a:rPr lang="en-US" b="1" dirty="0">
                  <a:solidFill>
                    <a:schemeClr val="bg1"/>
                  </a:solidFill>
                  <a:latin typeface="Calibri" panose="020F0502020204030204"/>
                </a:rPr>
                <a:t>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ESA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cubed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" name="Gerade Verbindung mit Pfeil 2">
              <a:extLst>
                <a:ext uri="{FF2B5EF4-FFF2-40B4-BE49-F238E27FC236}">
                  <a16:creationId xmlns:a16="http://schemas.microsoft.com/office/drawing/2014/main" id="{A79DACFA-8560-E997-F3D7-E88DC4654E25}"/>
                </a:ext>
              </a:extLst>
            </p:cNvPr>
            <p:cNvCxnSpPr>
              <a:cxnSpLocks/>
            </p:cNvCxnSpPr>
            <p:nvPr/>
          </p:nvCxnSpPr>
          <p:spPr>
            <a:xfrm>
              <a:off x="3985323" y="5495558"/>
              <a:ext cx="7133330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BBEC34BE-834C-02A8-7584-A9B350B2724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224263" y="5108387"/>
              <a:ext cx="898322" cy="744698"/>
            </a:xfrm>
            <a:prstGeom prst="rect">
              <a:avLst/>
            </a:prstGeom>
          </p:spPr>
        </p:pic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01859B56-24FD-E03A-8084-401C95D599A5}"/>
              </a:ext>
            </a:extLst>
          </p:cNvPr>
          <p:cNvGrpSpPr/>
          <p:nvPr/>
        </p:nvGrpSpPr>
        <p:grpSpPr>
          <a:xfrm>
            <a:off x="5050027" y="5751484"/>
            <a:ext cx="6082234" cy="559191"/>
            <a:chOff x="5050027" y="5853085"/>
            <a:chExt cx="6082234" cy="559191"/>
          </a:xfrm>
        </p:grpSpPr>
        <p:cxnSp>
          <p:nvCxnSpPr>
            <p:cNvPr id="20" name="Gerade Verbindung mit Pfeil 19">
              <a:extLst>
                <a:ext uri="{FF2B5EF4-FFF2-40B4-BE49-F238E27FC236}">
                  <a16:creationId xmlns:a16="http://schemas.microsoft.com/office/drawing/2014/main" id="{D4AFBAB0-336D-284B-FD31-3D0464A28562}"/>
                </a:ext>
              </a:extLst>
            </p:cNvPr>
            <p:cNvCxnSpPr>
              <a:cxnSpLocks/>
            </p:cNvCxnSpPr>
            <p:nvPr/>
          </p:nvCxnSpPr>
          <p:spPr>
            <a:xfrm>
              <a:off x="5749157" y="6086108"/>
              <a:ext cx="5369496" cy="0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CF1E463E-3B14-A390-B5AD-6FCB2E87FD1B}"/>
                </a:ext>
              </a:extLst>
            </p:cNvPr>
            <p:cNvSpPr txBox="1"/>
            <p:nvPr/>
          </p:nvSpPr>
          <p:spPr>
            <a:xfrm>
              <a:off x="5694953" y="6042944"/>
              <a:ext cx="3494547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arbon Market</a:t>
              </a:r>
              <a:r>
                <a: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, ESA Artes </a:t>
              </a:r>
              <a:endPara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50" name="Grafik 49">
              <a:extLst>
                <a:ext uri="{FF2B5EF4-FFF2-40B4-BE49-F238E27FC236}">
                  <a16:creationId xmlns:a16="http://schemas.microsoft.com/office/drawing/2014/main" id="{64B8F2F6-B366-5C5A-6783-97E662661F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50027" y="5853085"/>
              <a:ext cx="724390" cy="516732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4" name="Gerade Verbindung mit Pfeil 3">
              <a:extLst>
                <a:ext uri="{FF2B5EF4-FFF2-40B4-BE49-F238E27FC236}">
                  <a16:creationId xmlns:a16="http://schemas.microsoft.com/office/drawing/2014/main" id="{0BBFEF8B-C8C7-47B1-B1E5-A270BC2DD8F2}"/>
                </a:ext>
              </a:extLst>
            </p:cNvPr>
            <p:cNvCxnSpPr>
              <a:cxnSpLocks/>
            </p:cNvCxnSpPr>
            <p:nvPr/>
          </p:nvCxnSpPr>
          <p:spPr>
            <a:xfrm>
              <a:off x="10905067" y="6077138"/>
              <a:ext cx="227194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A0EA23F5-B985-9C40-33FC-D8289D3E03C7}"/>
              </a:ext>
            </a:extLst>
          </p:cNvPr>
          <p:cNvGrpSpPr/>
          <p:nvPr/>
        </p:nvGrpSpPr>
        <p:grpSpPr>
          <a:xfrm>
            <a:off x="6683022" y="6479550"/>
            <a:ext cx="4435631" cy="369332"/>
            <a:chOff x="6683022" y="6042944"/>
            <a:chExt cx="4435631" cy="369332"/>
          </a:xfrm>
        </p:grpSpPr>
        <p:cxnSp>
          <p:nvCxnSpPr>
            <p:cNvPr id="52" name="Gerade Verbindung mit Pfeil 51">
              <a:extLst>
                <a:ext uri="{FF2B5EF4-FFF2-40B4-BE49-F238E27FC236}">
                  <a16:creationId xmlns:a16="http://schemas.microsoft.com/office/drawing/2014/main" id="{27E51206-DD43-2EB5-23D1-C383AA1F4C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28178" y="6086108"/>
              <a:ext cx="4390475" cy="2264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Textfeld 52">
              <a:extLst>
                <a:ext uri="{FF2B5EF4-FFF2-40B4-BE49-F238E27FC236}">
                  <a16:creationId xmlns:a16="http://schemas.microsoft.com/office/drawing/2014/main" id="{1A4D8BA9-5098-F0ED-0A74-44B43ADB58DB}"/>
                </a:ext>
              </a:extLst>
            </p:cNvPr>
            <p:cNvSpPr txBox="1"/>
            <p:nvPr/>
          </p:nvSpPr>
          <p:spPr>
            <a:xfrm>
              <a:off x="6683022" y="6042944"/>
              <a:ext cx="25064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b="1" dirty="0">
                  <a:solidFill>
                    <a:schemeClr val="bg2"/>
                  </a:solidFill>
                  <a:latin typeface="Calibri" panose="020F0502020204030204"/>
                </a:rPr>
                <a:t>Energy: </a:t>
              </a:r>
              <a:r>
                <a: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gri PV</a:t>
              </a:r>
              <a:r>
                <a:rPr kumimoji="0" lang="de-DE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endPara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55" name="Gerade Verbindung mit Pfeil 54">
              <a:extLst>
                <a:ext uri="{FF2B5EF4-FFF2-40B4-BE49-F238E27FC236}">
                  <a16:creationId xmlns:a16="http://schemas.microsoft.com/office/drawing/2014/main" id="{D00B381C-C851-1F31-9CC8-FFE906D0DFFC}"/>
                </a:ext>
              </a:extLst>
            </p:cNvPr>
            <p:cNvCxnSpPr>
              <a:cxnSpLocks/>
            </p:cNvCxnSpPr>
            <p:nvPr/>
          </p:nvCxnSpPr>
          <p:spPr>
            <a:xfrm>
              <a:off x="10610996" y="6077138"/>
              <a:ext cx="498687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39622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0LpXoumvuURVZymWQRe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6jtU7nt0fRovSxeWgQ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zdA0D6PS2mnkizMh2I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heme/theme1.xml><?xml version="1.0" encoding="utf-8"?>
<a:theme xmlns:a="http://schemas.openxmlformats.org/drawingml/2006/main" name="Vista 2022">
  <a:themeElements>
    <a:clrScheme name="Vista">
      <a:dk1>
        <a:srgbClr val="000000"/>
      </a:dk1>
      <a:lt1>
        <a:srgbClr val="FFFFFF"/>
      </a:lt1>
      <a:dk2>
        <a:srgbClr val="7F0080"/>
      </a:dk2>
      <a:lt2>
        <a:srgbClr val="F2F2F2"/>
      </a:lt2>
      <a:accent1>
        <a:srgbClr val="7F0080"/>
      </a:accent1>
      <a:accent2>
        <a:srgbClr val="EAE5EF"/>
      </a:accent2>
      <a:accent3>
        <a:srgbClr val="552579"/>
      </a:accent3>
      <a:accent4>
        <a:srgbClr val="2A96B8"/>
      </a:accent4>
      <a:accent5>
        <a:srgbClr val="BCD0DA"/>
      </a:accent5>
      <a:accent6>
        <a:srgbClr val="165A6A"/>
      </a:accent6>
      <a:hlink>
        <a:srgbClr val="7F0080"/>
      </a:hlink>
      <a:folHlink>
        <a:srgbClr val="DBD3E3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6350">
          <a:noFill/>
        </a:ln>
      </a:spPr>
      <a:bodyPr lIns="72000" tIns="72000" rIns="72000" bIns="72000" rtlCol="0" anchor="t"/>
      <a:lstStyle>
        <a:defPPr algn="l">
          <a:spcAft>
            <a:spcPts val="1200"/>
          </a:spcAft>
          <a:defRPr sz="1400" kern="600" spc="0" baseline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355600" indent="-355600" algn="l">
          <a:spcAft>
            <a:spcPts val="1200"/>
          </a:spcAft>
          <a:buClr>
            <a:schemeClr val="tx2"/>
          </a:buClr>
          <a:buFont typeface="Arial" panose="020B0604020202020204" pitchFamily="34" charset="0"/>
          <a:buChar char="&gt;"/>
          <a:defRPr sz="1400" kern="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ista_Master.potx" id="{ECCFDB54-7810-453D-95CB-36CEC37825DA}" vid="{AAD5AE4C-D48C-4D46-93CF-1B968E25BC2C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6A7FBAD53447740AF2F6F3466FECB12" ma:contentTypeVersion="10" ma:contentTypeDescription="Creare un nuovo documento." ma:contentTypeScope="" ma:versionID="145a9ce632abb9fb9ebbf2e506ff51f2">
  <xsd:schema xmlns:xsd="http://www.w3.org/2001/XMLSchema" xmlns:xs="http://www.w3.org/2001/XMLSchema" xmlns:p="http://schemas.microsoft.com/office/2006/metadata/properties" xmlns:ns2="631addcf-6fba-43a6-b7fa-b6e1965b398b" xmlns:ns3="848258b2-4be1-4f83-9d2e-7519d0857068" targetNamespace="http://schemas.microsoft.com/office/2006/metadata/properties" ma:root="true" ma:fieldsID="0145536edff14ed864b5efcaed234443" ns2:_="" ns3:_="">
    <xsd:import namespace="631addcf-6fba-43a6-b7fa-b6e1965b398b"/>
    <xsd:import namespace="848258b2-4be1-4f83-9d2e-7519d08570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1addcf-6fba-43a6-b7fa-b6e1965b39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8258b2-4be1-4f83-9d2e-7519d0857068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7290870-FDE8-4AB9-BD3E-625CFDEA3E26}"/>
</file>

<file path=customXml/itemProps2.xml><?xml version="1.0" encoding="utf-8"?>
<ds:datastoreItem xmlns:ds="http://schemas.openxmlformats.org/officeDocument/2006/customXml" ds:itemID="{D166720B-089E-4EED-A606-F1414CC7DF7C}"/>
</file>

<file path=customXml/itemProps3.xml><?xml version="1.0" encoding="utf-8"?>
<ds:datastoreItem xmlns:ds="http://schemas.openxmlformats.org/officeDocument/2006/customXml" ds:itemID="{C6585467-EA5D-4609-AF5E-41809C4666B6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01</Words>
  <Application>Microsoft Office PowerPoint</Application>
  <PresentationFormat>Breitbild</PresentationFormat>
  <Paragraphs>58</Paragraphs>
  <Slides>5</Slides>
  <Notes>5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4" baseType="lpstr">
      <vt:lpstr>Arial</vt:lpstr>
      <vt:lpstr>Arial Regular</vt:lpstr>
      <vt:lpstr>Calibri</vt:lpstr>
      <vt:lpstr>Play</vt:lpstr>
      <vt:lpstr>Symbol</vt:lpstr>
      <vt:lpstr>Times New Roman</vt:lpstr>
      <vt:lpstr>Wingdings</vt:lpstr>
      <vt:lpstr>Vista 2022</vt:lpstr>
      <vt:lpstr>think-cell Folie</vt:lpstr>
      <vt:lpstr>EO Commercialization Forum Agriculture Session</vt:lpstr>
      <vt:lpstr>EO Commercialization Forum Agriculture Sess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eike Bach</dc:creator>
  <cp:lastModifiedBy>Heike Bach</cp:lastModifiedBy>
  <cp:revision>11</cp:revision>
  <dcterms:created xsi:type="dcterms:W3CDTF">2024-11-20T12:23:03Z</dcterms:created>
  <dcterms:modified xsi:type="dcterms:W3CDTF">2024-11-26T11:3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A7FBAD53447740AF2F6F3466FECB12</vt:lpwstr>
  </property>
</Properties>
</file>